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autoCompressPictures="0">
  <p:sldMasterIdLst>
    <p:sldMasterId id="2147485447" r:id="rId3"/>
    <p:sldMasterId id="2147485769" r:id="rId4"/>
    <p:sldMasterId id="2147485783" r:id="rId5"/>
  </p:sldMasterIdLst>
  <p:notesMasterIdLst>
    <p:notesMasterId r:id="rId20"/>
  </p:notesMasterIdLst>
  <p:handoutMasterIdLst>
    <p:handoutMasterId r:id="rId21"/>
  </p:handoutMasterIdLst>
  <p:sldIdLst>
    <p:sldId id="2147480129" r:id="rId6"/>
    <p:sldId id="2147480117" r:id="rId7"/>
    <p:sldId id="2147480130" r:id="rId8"/>
    <p:sldId id="2147480135" r:id="rId9"/>
    <p:sldId id="2147480131" r:id="rId10"/>
    <p:sldId id="2147480132" r:id="rId11"/>
    <p:sldId id="2147480134" r:id="rId12"/>
    <p:sldId id="2147480133" r:id="rId13"/>
    <p:sldId id="4553" r:id="rId14"/>
    <p:sldId id="550144596" r:id="rId15"/>
    <p:sldId id="382" r:id="rId16"/>
    <p:sldId id="266" r:id="rId17"/>
    <p:sldId id="2147480119" r:id="rId18"/>
    <p:sldId id="2147480126" r:id="rId19"/>
  </p:sldIdLst>
  <p:sldSz cx="12192000" cy="6858000"/>
  <p:notesSz cx="6858000" cy="9144000"/>
  <p:defaultTextStyle>
    <a:defPPr>
      <a:defRPr lang="en-US"/>
    </a:defPPr>
    <a:lvl1pPr marL="0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1pPr>
    <a:lvl2pPr marL="457183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2pPr>
    <a:lvl3pPr marL="914367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3pPr>
    <a:lvl4pPr marL="1371550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4pPr>
    <a:lvl5pPr marL="1828734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5pPr>
    <a:lvl6pPr marL="2285918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 slides" id="{6BEBC51B-B88B-4AE4-8478-0F95EE84F165}">
          <p14:sldIdLst>
            <p14:sldId id="2147480129"/>
          </p14:sldIdLst>
        </p14:section>
        <p14:section name="Agenda" id="{194114FB-11A9-460A-BA65-6CA85323C1BD}">
          <p14:sldIdLst>
            <p14:sldId id="2147480117"/>
            <p14:sldId id="2147480130"/>
            <p14:sldId id="2147480135"/>
            <p14:sldId id="2147480131"/>
            <p14:sldId id="2147480132"/>
            <p14:sldId id="2147480134"/>
            <p14:sldId id="2147480133"/>
            <p14:sldId id="4553"/>
            <p14:sldId id="550144596"/>
            <p14:sldId id="382"/>
            <p14:sldId id="266"/>
          </p14:sldIdLst>
        </p14:section>
        <p14:section name="10 - Closing slides" id="{1E7AC317-C1C3-BF4A-95B2-52EB01762F53}">
          <p14:sldIdLst>
            <p14:sldId id="2147480119"/>
          </p14:sldIdLst>
        </p14:section>
        <p14:section name="CTA" id="{9946D97F-7976-434D-A7C5-F41CEA3EA6FE}">
          <p14:sldIdLst>
            <p14:sldId id="2147480126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5" name="Author" initials="A" lastIdx="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522"/>
    <a:srgbClr val="FF7100"/>
    <a:srgbClr val="3B3B3A"/>
    <a:srgbClr val="FFA055"/>
    <a:srgbClr val="170C3F"/>
    <a:srgbClr val="7B17F8"/>
    <a:srgbClr val="B2A1E8"/>
    <a:srgbClr val="C914BA"/>
    <a:srgbClr val="B01EC5"/>
    <a:srgbClr val="403BD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4" d="100"/>
          <a:sy n="104" d="100"/>
        </p:scale>
        <p:origin x="834" y="30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1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3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2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commentAuthors" Target="commentAuthors.xml"/><Relationship Id="rId27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0F9EC6-89FF-47E1-8594-1A32E3B45134}" type="datetime8">
              <a:rPr lang="en-US" smtClean="0">
                <a:latin typeface="Segoe UI" pitchFamily="34" charset="0"/>
              </a:rPr>
              <a:t>8/6/2024 2:48 PM</a:t>
            </a:fld>
            <a:endParaRPr lang="en-US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386CE63F-9E7F-4C04-9D0D-FCA25A8E9E86}" type="datetime8">
              <a:rPr lang="en-US" smtClean="0"/>
              <a:t>8/6/2024 2:47 PM</a:t>
            </a:fld>
            <a:endParaRPr lang="en-US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14367" rtl="0" eaLnBrk="1" latinLnBrk="0" hangingPunct="1">
      <a:lnSpc>
        <a:spcPct val="90000"/>
      </a:lnSpc>
      <a:spcAft>
        <a:spcPts val="333"/>
      </a:spcAft>
      <a:defRPr sz="882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1pPr>
    <a:lvl2pPr marL="212982" indent="-105829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2pPr>
    <a:lvl3pPr marL="328071" indent="-115090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3pPr>
    <a:lvl4pPr marL="482848" indent="-146838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4pPr>
    <a:lvl5pPr marL="615134" indent="-115090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5pPr>
    <a:lvl6pPr marL="2285918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3019A1-94FF-4EE3-817F-0E236D94A3C5}" type="slidenum">
              <a:rPr kumimoji="0" lang="id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id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15721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Скачки всех пакетов выросли достаточно крупно, вывод — люди перешли к активной работе/разработке после затишья в декабре-начале января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7E9255-D318-D347-8E9E-49CC09196A6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79829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8/6/2024 2:47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6736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9.png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6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8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4" Type="http://schemas.openxmlformats.org/officeDocument/2006/relationships/image" Target="../media/image3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31.emf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ag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A1A9C5EE-AD9B-C973-7EC3-E784E884F5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2171" y="2189877"/>
            <a:ext cx="6367270" cy="19236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ts val="7500"/>
              </a:lnSpc>
              <a:spcBef>
                <a:spcPct val="0"/>
              </a:spcBef>
              <a:buNone/>
              <a:defRPr lang="en-US" sz="6000" b="1" kern="1200" cap="none" spc="-300" baseline="0" dirty="0">
                <a:ln w="3175">
                  <a:noFill/>
                </a:ln>
                <a:solidFill>
                  <a:schemeClr val="tx2"/>
                </a:solidFill>
                <a:effectLst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962FB5EE-A7CB-45F1-0F33-06C38CDC6B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2171" y="4345640"/>
            <a:ext cx="5430837" cy="276999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1159839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-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ack and purple background&#10;&#10;Description automatically generated">
            <a:extLst>
              <a:ext uri="{FF2B5EF4-FFF2-40B4-BE49-F238E27FC236}">
                <a16:creationId xmlns:a16="http://schemas.microsoft.com/office/drawing/2014/main" id="{807741DB-618D-D627-2241-C72BED11CD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227"/>
            <a:ext cx="12199747" cy="4826390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A8E184E3-7039-2F3B-7052-3F8D7F797F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5754" y="3013501"/>
            <a:ext cx="11060491" cy="830997"/>
          </a:xfrm>
        </p:spPr>
        <p:txBody>
          <a:bodyPr anchor="ctr"/>
          <a:lstStyle>
            <a:lvl1pPr marL="0" algn="ctr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5400" b="1" kern="1200" cap="none" spc="0" baseline="0" dirty="0">
                <a:ln w="3175">
                  <a:noFill/>
                </a:ln>
                <a:gradFill flip="none" rotWithShape="1">
                  <a:gsLst>
                    <a:gs pos="100000">
                      <a:schemeClr val="accent2"/>
                    </a:gs>
                    <a:gs pos="17000">
                      <a:schemeClr val="accent1"/>
                    </a:gs>
                  </a:gsLst>
                  <a:lin ang="4200000" scaled="0"/>
                  <a:tileRect/>
                </a:gradFill>
                <a:effectLst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r>
              <a:rPr lang="en-US"/>
              <a:t>Lorem ipsum dolor sit</a:t>
            </a:r>
          </a:p>
        </p:txBody>
      </p:sp>
    </p:spTree>
    <p:extLst>
      <p:ext uri="{BB962C8B-B14F-4D97-AF65-F5344CB8AC3E}">
        <p14:creationId xmlns:p14="http://schemas.microsoft.com/office/powerpoint/2010/main" val="15564874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311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  <p15:guide id="7" orient="horz" pos="905">
          <p15:clr>
            <a:srgbClr val="5ACBF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/text/chart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B29AF48-CA3C-F1DD-23AC-7CADEED51B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5487" y="3429000"/>
            <a:ext cx="6840109" cy="3429000"/>
          </a:xfrm>
          <a:prstGeom prst="rect">
            <a:avLst/>
          </a:prstGeom>
        </p:spPr>
      </p:pic>
      <p:pic>
        <p:nvPicPr>
          <p:cNvPr id="6" name="Picture 5" descr="A black circle with a dark background&#10;&#10;Description automatically generated with medium confidence">
            <a:extLst>
              <a:ext uri="{FF2B5EF4-FFF2-40B4-BE49-F238E27FC236}">
                <a16:creationId xmlns:a16="http://schemas.microsoft.com/office/drawing/2014/main" id="{708C264F-6109-408C-6F9F-6C7DFC8E4E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43564" y="0"/>
            <a:ext cx="4448436" cy="3840658"/>
          </a:xfrm>
          <a:prstGeom prst="rect">
            <a:avLst/>
          </a:prstGeom>
        </p:spPr>
      </p:pic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8DE6E0F4-EB1B-1087-9A06-05AA9348E9D7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5238627" y="2597286"/>
            <a:ext cx="6380674" cy="1569765"/>
          </a:xfrm>
        </p:spPr>
        <p:txBody>
          <a:bodyPr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7651C1F6-DEB0-AFDF-C4BB-AA31BE8D3D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010" y="2365565"/>
            <a:ext cx="4158362" cy="1239996"/>
          </a:xfrm>
        </p:spPr>
        <p:txBody>
          <a:bodyPr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 amet 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C42DB2F-8FFD-F6F8-DED6-9DBA7862C5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2699" y="3838520"/>
            <a:ext cx="3946208" cy="553998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Donec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,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, non </a:t>
            </a:r>
            <a:r>
              <a:rPr lang="en-US" err="1"/>
              <a:t>commodo</a:t>
            </a:r>
            <a:r>
              <a:rPr lang="en-US"/>
              <a:t> dui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diam.</a:t>
            </a:r>
          </a:p>
        </p:txBody>
      </p:sp>
    </p:spTree>
    <p:extLst>
      <p:ext uri="{BB962C8B-B14F-4D97-AF65-F5344CB8AC3E}">
        <p14:creationId xmlns:p14="http://schemas.microsoft.com/office/powerpoint/2010/main" val="204533986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29" orient="horz" pos="2160">
          <p15:clr>
            <a:srgbClr val="5ACBF0"/>
          </p15:clr>
        </p15:guide>
        <p15:guide id="30" pos="2376">
          <p15:clr>
            <a:srgbClr val="5ACBF0"/>
          </p15:clr>
        </p15:guide>
        <p15:guide id="31" pos="3113">
          <p15:clr>
            <a:srgbClr val="5ACBF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ered Title/text/chart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922E445-F830-57CB-956C-A9671F038E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5487" y="3429000"/>
            <a:ext cx="6840109" cy="3429000"/>
          </a:xfrm>
          <a:prstGeom prst="rect">
            <a:avLst/>
          </a:prstGeom>
        </p:spPr>
      </p:pic>
      <p:pic>
        <p:nvPicPr>
          <p:cNvPr id="10" name="Picture 9" descr="A black circle with a dark background&#10;&#10;Description automatically generated with medium confidence">
            <a:extLst>
              <a:ext uri="{FF2B5EF4-FFF2-40B4-BE49-F238E27FC236}">
                <a16:creationId xmlns:a16="http://schemas.microsoft.com/office/drawing/2014/main" id="{94F03461-57ED-BBAC-5B18-EB9FBE3E58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43564" y="0"/>
            <a:ext cx="4448436" cy="3840658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FE601496-DC71-36E8-19DE-911D4632C0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5764" y="422028"/>
            <a:ext cx="11018520" cy="615553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" name="Chart Placeholder 6">
            <a:extLst>
              <a:ext uri="{FF2B5EF4-FFF2-40B4-BE49-F238E27FC236}">
                <a16:creationId xmlns:a16="http://schemas.microsoft.com/office/drawing/2014/main" id="{392A398C-8712-6E39-6EEA-7710EB9C5417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1512498" y="2182664"/>
            <a:ext cx="9172754" cy="3577086"/>
          </a:xfrm>
        </p:spPr>
        <p:txBody>
          <a:bodyPr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D2D5F456-EAC5-42C5-2BDB-0C5DF3D86B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46273" y="1220473"/>
            <a:ext cx="7297503" cy="184666"/>
          </a:xfrm>
        </p:spPr>
        <p:txBody>
          <a:bodyPr/>
          <a:lstStyle>
            <a:lvl1pPr marL="0" indent="0" algn="ctr"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.</a:t>
            </a:r>
          </a:p>
        </p:txBody>
      </p:sp>
    </p:spTree>
    <p:extLst>
      <p:ext uri="{BB962C8B-B14F-4D97-AF65-F5344CB8AC3E}">
        <p14:creationId xmlns:p14="http://schemas.microsoft.com/office/powerpoint/2010/main" val="222439428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xt box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A9187A4-4424-2670-DEC4-72A61846C4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285280"/>
            <a:ext cx="5552854" cy="2572720"/>
          </a:xfrm>
          <a:prstGeom prst="rect">
            <a:avLst/>
          </a:prstGeom>
        </p:spPr>
      </p:pic>
      <p:pic>
        <p:nvPicPr>
          <p:cNvPr id="14" name="Picture 13" descr="A black circle with a dark background&#10;&#10;Description automatically generated with medium confidence">
            <a:extLst>
              <a:ext uri="{FF2B5EF4-FFF2-40B4-BE49-F238E27FC236}">
                <a16:creationId xmlns:a16="http://schemas.microsoft.com/office/drawing/2014/main" id="{6D8EDA1A-CBAD-C573-B4F6-059BD8AE09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43564" y="0"/>
            <a:ext cx="4448436" cy="3840658"/>
          </a:xfrm>
          <a:prstGeom prst="rect">
            <a:avLst/>
          </a:prstGeom>
        </p:spPr>
      </p:pic>
      <p:sp>
        <p:nvSpPr>
          <p:cNvPr id="13" name="Rounded Rectangle 2">
            <a:extLst>
              <a:ext uri="{FF2B5EF4-FFF2-40B4-BE49-F238E27FC236}">
                <a16:creationId xmlns:a16="http://schemas.microsoft.com/office/drawing/2014/main" id="{93A2487A-61B8-8A04-2A52-5B6E14A911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4664943" y="2021293"/>
            <a:ext cx="2847373" cy="1678489"/>
          </a:xfrm>
          <a:prstGeom prst="roundRect">
            <a:avLst>
              <a:gd name="adj" fmla="val 1979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31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254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18" name="Rounded Rectangle 2">
            <a:extLst>
              <a:ext uri="{FF2B5EF4-FFF2-40B4-BE49-F238E27FC236}">
                <a16:creationId xmlns:a16="http://schemas.microsoft.com/office/drawing/2014/main" id="{AD8ABAB2-DD91-C853-74F0-0B65B0F3B3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7940198" y="2021293"/>
            <a:ext cx="2847373" cy="1678489"/>
          </a:xfrm>
          <a:prstGeom prst="roundRect">
            <a:avLst>
              <a:gd name="adj" fmla="val 1979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31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254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2" name="Rounded Rectangle 2">
            <a:extLst>
              <a:ext uri="{FF2B5EF4-FFF2-40B4-BE49-F238E27FC236}">
                <a16:creationId xmlns:a16="http://schemas.microsoft.com/office/drawing/2014/main" id="{2471DCD8-0AF4-55E9-8906-F303CB9252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1412077" y="2021293"/>
            <a:ext cx="2847373" cy="1678489"/>
          </a:xfrm>
          <a:prstGeom prst="roundRect">
            <a:avLst>
              <a:gd name="adj" fmla="val 1979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31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254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9E46301-3A68-CC3E-45CC-818C41F5832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7322" y="2333546"/>
            <a:ext cx="2313432" cy="27699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452D3C7-8D3A-02FB-B0BD-F6001AB5B9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937322" y="2850440"/>
            <a:ext cx="2313432" cy="553998"/>
          </a:xfrm>
        </p:spPr>
        <p:txBody>
          <a:bodyPr wrap="square">
            <a:spAutoFit/>
          </a:bodyPr>
          <a:lstStyle>
            <a:lvl1pPr marL="0" indent="0" algn="ctr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E7138CD8-E499-9097-E3EA-61E74A7E87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0960" y="980708"/>
            <a:ext cx="11050081" cy="615553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7F99E1BF-51F0-4EC3-CD9D-ED044CAC3B5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679049" y="2333546"/>
            <a:ext cx="2313432" cy="27699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82682BD-18B9-5E6A-7AA9-E0C27B03CB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679049" y="2850440"/>
            <a:ext cx="2313432" cy="553998"/>
          </a:xfrm>
        </p:spPr>
        <p:txBody>
          <a:bodyPr wrap="square">
            <a:spAutoFit/>
          </a:bodyPr>
          <a:lstStyle>
            <a:lvl1pPr marL="0" indent="0" algn="ctr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endParaRPr lang="en-US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F8138A40-A739-B853-C2A9-1FAD12A6823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07169" y="2333546"/>
            <a:ext cx="2313432" cy="27699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6F045CF5-1BA7-6F69-AE98-20AF4367E09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07169" y="2850440"/>
            <a:ext cx="2313432" cy="553998"/>
          </a:xfrm>
        </p:spPr>
        <p:txBody>
          <a:bodyPr wrap="square">
            <a:spAutoFit/>
          </a:bodyPr>
          <a:lstStyle>
            <a:lvl1pPr marL="0" indent="0" algn="ctr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endParaRPr lang="en-US"/>
          </a:p>
        </p:txBody>
      </p:sp>
      <p:sp>
        <p:nvSpPr>
          <p:cNvPr id="6" name="Rounded Rectangle 2">
            <a:extLst>
              <a:ext uri="{FF2B5EF4-FFF2-40B4-BE49-F238E27FC236}">
                <a16:creationId xmlns:a16="http://schemas.microsoft.com/office/drawing/2014/main" id="{FB048452-F623-8515-9B3D-63A2EF18B4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4664943" y="4074819"/>
            <a:ext cx="2847373" cy="1678489"/>
          </a:xfrm>
          <a:prstGeom prst="roundRect">
            <a:avLst>
              <a:gd name="adj" fmla="val 1979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31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254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10" name="Rounded Rectangle 2">
            <a:extLst>
              <a:ext uri="{FF2B5EF4-FFF2-40B4-BE49-F238E27FC236}">
                <a16:creationId xmlns:a16="http://schemas.microsoft.com/office/drawing/2014/main" id="{572E8352-2A80-FDBE-000C-46BC42B305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7940198" y="4074819"/>
            <a:ext cx="2847373" cy="1678489"/>
          </a:xfrm>
          <a:prstGeom prst="roundRect">
            <a:avLst>
              <a:gd name="adj" fmla="val 1979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31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254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12" name="Rounded Rectangle 2">
            <a:extLst>
              <a:ext uri="{FF2B5EF4-FFF2-40B4-BE49-F238E27FC236}">
                <a16:creationId xmlns:a16="http://schemas.microsoft.com/office/drawing/2014/main" id="{C1617C4F-8B9E-8145-E9FA-097AF0B122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1412077" y="4074819"/>
            <a:ext cx="2847373" cy="1678489"/>
          </a:xfrm>
          <a:prstGeom prst="roundRect">
            <a:avLst>
              <a:gd name="adj" fmla="val 1979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31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254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E840DA7-AD9B-E37B-225D-705F520C867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37322" y="4387072"/>
            <a:ext cx="2313432" cy="27699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328F21D0-80AE-A8D0-E187-931FA8906BE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937322" y="4903966"/>
            <a:ext cx="2313432" cy="553998"/>
          </a:xfrm>
        </p:spPr>
        <p:txBody>
          <a:bodyPr wrap="square">
            <a:spAutoFit/>
          </a:bodyPr>
          <a:lstStyle>
            <a:lvl1pPr marL="0" indent="0" algn="ctr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endParaRPr lang="en-US"/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D3148076-2D97-33A6-7B7B-756B03619E8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679049" y="4387072"/>
            <a:ext cx="2313432" cy="27699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AF54FE40-BF22-A040-5C43-C03E17F6DBA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679049" y="4903966"/>
            <a:ext cx="2313432" cy="553998"/>
          </a:xfrm>
        </p:spPr>
        <p:txBody>
          <a:bodyPr wrap="square">
            <a:spAutoFit/>
          </a:bodyPr>
          <a:lstStyle>
            <a:lvl1pPr marL="0" indent="0" algn="ctr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endParaRPr lang="en-US"/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1F719C13-71D5-A7D5-A9D8-0570B1AB90F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207169" y="4387072"/>
            <a:ext cx="2313432" cy="27699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5687D2D2-469C-F6C9-213C-4CC5A831C12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207169" y="4903966"/>
            <a:ext cx="2313432" cy="553998"/>
          </a:xfrm>
        </p:spPr>
        <p:txBody>
          <a:bodyPr wrap="square">
            <a:spAutoFit/>
          </a:bodyPr>
          <a:lstStyle>
            <a:lvl1pPr marL="0" indent="0" algn="ctr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1634521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 box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123F750-71ED-4DFF-FB71-B66298E859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285280"/>
            <a:ext cx="5552854" cy="2572720"/>
          </a:xfrm>
          <a:prstGeom prst="rect">
            <a:avLst/>
          </a:prstGeom>
        </p:spPr>
      </p:pic>
      <p:pic>
        <p:nvPicPr>
          <p:cNvPr id="7" name="Picture 6" descr="A black circle with a dark background&#10;&#10;Description automatically generated with medium confidence">
            <a:extLst>
              <a:ext uri="{FF2B5EF4-FFF2-40B4-BE49-F238E27FC236}">
                <a16:creationId xmlns:a16="http://schemas.microsoft.com/office/drawing/2014/main" id="{108D6EFA-9DAC-D1F0-55ED-9949D16A9F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43564" y="0"/>
            <a:ext cx="4448436" cy="3840658"/>
          </a:xfrm>
          <a:prstGeom prst="rect">
            <a:avLst/>
          </a:prstGeom>
        </p:spPr>
      </p:pic>
      <p:sp>
        <p:nvSpPr>
          <p:cNvPr id="13" name="Rounded Rectangle 2">
            <a:extLst>
              <a:ext uri="{FF2B5EF4-FFF2-40B4-BE49-F238E27FC236}">
                <a16:creationId xmlns:a16="http://schemas.microsoft.com/office/drawing/2014/main" id="{93A2487A-61B8-8A04-2A52-5B6E14A911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4382468" y="2385503"/>
            <a:ext cx="3427063" cy="3011342"/>
          </a:xfrm>
          <a:prstGeom prst="roundRect">
            <a:avLst>
              <a:gd name="adj" fmla="val 1979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27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254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9E46301-3A68-CC3E-45CC-818C41F5832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38469" y="2697756"/>
            <a:ext cx="2915060" cy="55399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 b="1">
                <a:gradFill>
                  <a:gsLst>
                    <a:gs pos="38000">
                      <a:schemeClr val="accent1"/>
                    </a:gs>
                    <a:gs pos="100000">
                      <a:schemeClr val="accent2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 </a:t>
            </a:r>
            <a:br>
              <a:rPr lang="en-US"/>
            </a:br>
            <a:r>
              <a:rPr lang="en-US"/>
              <a:t>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turpis</a:t>
            </a:r>
            <a:endParaRPr lang="en-US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452D3C7-8D3A-02FB-B0BD-F6001AB5B9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38469" y="3454284"/>
            <a:ext cx="2915060" cy="1661993"/>
          </a:xfrm>
        </p:spPr>
        <p:txBody>
          <a:bodyPr wrap="square">
            <a:spAutoFit/>
          </a:bodyPr>
          <a:lstStyle>
            <a:lvl1pPr marL="0" indent="0" algn="ctr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Donec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,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, non </a:t>
            </a:r>
            <a:r>
              <a:rPr lang="en-US" err="1"/>
              <a:t>commodo</a:t>
            </a:r>
            <a:r>
              <a:rPr lang="en-US"/>
              <a:t> dui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diam. </a:t>
            </a:r>
            <a:r>
              <a:rPr lang="en-US" err="1"/>
              <a:t>Nullam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rhoncus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ac </a:t>
            </a:r>
            <a:r>
              <a:rPr lang="en-US" err="1"/>
              <a:t>feugiat</a:t>
            </a:r>
            <a:r>
              <a:rPr lang="en-US"/>
              <a:t>. Maecenas ac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placerat</a:t>
            </a:r>
            <a:r>
              <a:rPr lang="en-US"/>
              <a:t> eros </a:t>
            </a:r>
            <a:r>
              <a:rPr lang="en-US" err="1"/>
              <a:t>quis</a:t>
            </a:r>
            <a:r>
              <a:rPr lang="en-US"/>
              <a:t>, </a:t>
            </a:r>
            <a:r>
              <a:rPr lang="en-US" err="1"/>
              <a:t>viverra</a:t>
            </a:r>
            <a:r>
              <a:rPr lang="en-US"/>
              <a:t> ante. </a:t>
            </a:r>
            <a:r>
              <a:rPr lang="en-US" err="1"/>
              <a:t>Aliquam</a:t>
            </a:r>
            <a:r>
              <a:rPr lang="en-US"/>
              <a:t> id </a:t>
            </a:r>
            <a:r>
              <a:rPr lang="en-US" err="1"/>
              <a:t>sagittis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at </a:t>
            </a:r>
            <a:r>
              <a:rPr lang="en-US" err="1"/>
              <a:t>placerat</a:t>
            </a:r>
            <a:r>
              <a:rPr lang="en-US"/>
              <a:t> </a:t>
            </a:r>
            <a:r>
              <a:rPr lang="en-US" err="1"/>
              <a:t>lacus</a:t>
            </a:r>
            <a:r>
              <a:rPr lang="en-US"/>
              <a:t>, non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.</a:t>
            </a:r>
          </a:p>
        </p:txBody>
      </p:sp>
      <p:sp>
        <p:nvSpPr>
          <p:cNvPr id="28" name="Rounded Rectangle 2">
            <a:extLst>
              <a:ext uri="{FF2B5EF4-FFF2-40B4-BE49-F238E27FC236}">
                <a16:creationId xmlns:a16="http://schemas.microsoft.com/office/drawing/2014/main" id="{0B210A1E-5884-FEB6-332E-7C23EB5D15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8179553" y="2385503"/>
            <a:ext cx="3427063" cy="3011342"/>
          </a:xfrm>
          <a:prstGeom prst="roundRect">
            <a:avLst>
              <a:gd name="adj" fmla="val 1979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27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254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1FAC3CD8-8269-8023-D44F-BC9EA2CD669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435554" y="2697756"/>
            <a:ext cx="2915060" cy="55399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 b="1">
                <a:gradFill>
                  <a:gsLst>
                    <a:gs pos="38000">
                      <a:schemeClr val="accent1"/>
                    </a:gs>
                    <a:gs pos="100000">
                      <a:schemeClr val="accent2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 </a:t>
            </a:r>
            <a:br>
              <a:rPr lang="en-US"/>
            </a:br>
            <a:r>
              <a:rPr lang="en-US"/>
              <a:t>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turpis</a:t>
            </a:r>
            <a:endParaRPr lang="en-US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3CD58979-FBCF-212D-BA47-E3B2FAF4A6B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435554" y="3454284"/>
            <a:ext cx="2915060" cy="1661993"/>
          </a:xfrm>
        </p:spPr>
        <p:txBody>
          <a:bodyPr wrap="square">
            <a:spAutoFit/>
          </a:bodyPr>
          <a:lstStyle>
            <a:lvl1pPr marL="0" indent="0" algn="ctr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Donec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,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, non </a:t>
            </a:r>
            <a:r>
              <a:rPr lang="en-US" err="1"/>
              <a:t>commodo</a:t>
            </a:r>
            <a:r>
              <a:rPr lang="en-US"/>
              <a:t> dui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diam. </a:t>
            </a:r>
            <a:r>
              <a:rPr lang="en-US" err="1"/>
              <a:t>Nullam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rhoncus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ac </a:t>
            </a:r>
            <a:r>
              <a:rPr lang="en-US" err="1"/>
              <a:t>feugiat</a:t>
            </a:r>
            <a:r>
              <a:rPr lang="en-US"/>
              <a:t>. Maecenas ac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placerat</a:t>
            </a:r>
            <a:r>
              <a:rPr lang="en-US"/>
              <a:t> eros </a:t>
            </a:r>
            <a:r>
              <a:rPr lang="en-US" err="1"/>
              <a:t>quis</a:t>
            </a:r>
            <a:r>
              <a:rPr lang="en-US"/>
              <a:t>, </a:t>
            </a:r>
            <a:r>
              <a:rPr lang="en-US" err="1"/>
              <a:t>viverra</a:t>
            </a:r>
            <a:r>
              <a:rPr lang="en-US"/>
              <a:t> ante. </a:t>
            </a:r>
            <a:r>
              <a:rPr lang="en-US" err="1"/>
              <a:t>Aliquam</a:t>
            </a:r>
            <a:r>
              <a:rPr lang="en-US"/>
              <a:t> id </a:t>
            </a:r>
            <a:r>
              <a:rPr lang="en-US" err="1"/>
              <a:t>sagittis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at </a:t>
            </a:r>
            <a:r>
              <a:rPr lang="en-US" err="1"/>
              <a:t>placerat</a:t>
            </a:r>
            <a:r>
              <a:rPr lang="en-US"/>
              <a:t> </a:t>
            </a:r>
            <a:r>
              <a:rPr lang="en-US" err="1"/>
              <a:t>lacus</a:t>
            </a:r>
            <a:r>
              <a:rPr lang="en-US"/>
              <a:t>, non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.</a:t>
            </a:r>
          </a:p>
        </p:txBody>
      </p:sp>
      <p:sp>
        <p:nvSpPr>
          <p:cNvPr id="31" name="Rounded Rectangle 2">
            <a:extLst>
              <a:ext uri="{FF2B5EF4-FFF2-40B4-BE49-F238E27FC236}">
                <a16:creationId xmlns:a16="http://schemas.microsoft.com/office/drawing/2014/main" id="{519417E7-4330-CE2A-C018-004C40CC33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585383" y="2385503"/>
            <a:ext cx="3427063" cy="3011342"/>
          </a:xfrm>
          <a:prstGeom prst="roundRect">
            <a:avLst>
              <a:gd name="adj" fmla="val 1979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27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254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5E2A7BED-F7CE-714D-7143-539BB91323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41384" y="2697756"/>
            <a:ext cx="2915060" cy="55399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 b="1">
                <a:gradFill>
                  <a:gsLst>
                    <a:gs pos="38000">
                      <a:schemeClr val="accent1"/>
                    </a:gs>
                    <a:gs pos="100000">
                      <a:schemeClr val="accent2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 </a:t>
            </a:r>
            <a:br>
              <a:rPr lang="en-US"/>
            </a:br>
            <a:r>
              <a:rPr lang="en-US"/>
              <a:t>sit amet turpis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3E1326CB-6240-432C-D815-FFE2FC75213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1384" y="3454284"/>
            <a:ext cx="2915060" cy="1661993"/>
          </a:xfrm>
        </p:spPr>
        <p:txBody>
          <a:bodyPr wrap="square">
            <a:spAutoFit/>
          </a:bodyPr>
          <a:lstStyle>
            <a:lvl1pPr marL="0" indent="0" algn="ctr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Donec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,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, non </a:t>
            </a:r>
            <a:r>
              <a:rPr lang="en-US" err="1"/>
              <a:t>commodo</a:t>
            </a:r>
            <a:r>
              <a:rPr lang="en-US"/>
              <a:t> dui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diam. </a:t>
            </a:r>
            <a:r>
              <a:rPr lang="en-US" err="1"/>
              <a:t>Nullam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rhoncus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ac </a:t>
            </a:r>
            <a:r>
              <a:rPr lang="en-US" err="1"/>
              <a:t>feugiat</a:t>
            </a:r>
            <a:r>
              <a:rPr lang="en-US"/>
              <a:t>. Maecenas ac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placerat</a:t>
            </a:r>
            <a:r>
              <a:rPr lang="en-US"/>
              <a:t> eros </a:t>
            </a:r>
            <a:r>
              <a:rPr lang="en-US" err="1"/>
              <a:t>quis</a:t>
            </a:r>
            <a:r>
              <a:rPr lang="en-US"/>
              <a:t>, </a:t>
            </a:r>
            <a:r>
              <a:rPr lang="en-US" err="1"/>
              <a:t>viverra</a:t>
            </a:r>
            <a:r>
              <a:rPr lang="en-US"/>
              <a:t> ante. </a:t>
            </a:r>
            <a:r>
              <a:rPr lang="en-US" err="1"/>
              <a:t>Aliquam</a:t>
            </a:r>
            <a:r>
              <a:rPr lang="en-US"/>
              <a:t> id </a:t>
            </a:r>
            <a:r>
              <a:rPr lang="en-US" err="1"/>
              <a:t>sagittis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at </a:t>
            </a:r>
            <a:r>
              <a:rPr lang="en-US" err="1"/>
              <a:t>placerat</a:t>
            </a:r>
            <a:r>
              <a:rPr lang="en-US"/>
              <a:t> </a:t>
            </a:r>
            <a:r>
              <a:rPr lang="en-US" err="1"/>
              <a:t>lacus</a:t>
            </a:r>
            <a:r>
              <a:rPr lang="en-US"/>
              <a:t>, non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BB09A5F-2054-3689-C15B-2605B58867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0960" y="980708"/>
            <a:ext cx="11050081" cy="615553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1204613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aragraph -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AC809D2-B829-7B00-FB59-EE8E0B2277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5487" y="3438427"/>
            <a:ext cx="6840109" cy="3429000"/>
          </a:xfrm>
          <a:prstGeom prst="rect">
            <a:avLst/>
          </a:prstGeom>
        </p:spPr>
      </p:pic>
      <p:pic>
        <p:nvPicPr>
          <p:cNvPr id="5" name="Picture 4" descr="A black circle with a dark background&#10;&#10;Description automatically generated with medium confidence">
            <a:extLst>
              <a:ext uri="{FF2B5EF4-FFF2-40B4-BE49-F238E27FC236}">
                <a16:creationId xmlns:a16="http://schemas.microsoft.com/office/drawing/2014/main" id="{DB66E6E7-CE63-2558-3E07-917AA2D04D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52991" y="0"/>
            <a:ext cx="4448436" cy="3840658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70FEC1AA-5301-D109-7757-3C8F28BF76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90154" y="2056480"/>
            <a:ext cx="4622646" cy="122835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 amet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F799C7F5-7F21-7BAC-43ED-755B319581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90153" y="3524149"/>
            <a:ext cx="4622647" cy="1107996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Donec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,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, non </a:t>
            </a:r>
            <a:r>
              <a:rPr lang="en-US" err="1"/>
              <a:t>commodo</a:t>
            </a:r>
            <a:r>
              <a:rPr lang="en-US"/>
              <a:t> dui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diam. </a:t>
            </a:r>
            <a:r>
              <a:rPr lang="en-US" err="1"/>
              <a:t>Nullam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rhoncus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ac </a:t>
            </a:r>
            <a:r>
              <a:rPr lang="en-US" err="1"/>
              <a:t>feugiat</a:t>
            </a:r>
            <a:r>
              <a:rPr lang="en-US"/>
              <a:t>. Maecenas ac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placerat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 eros </a:t>
            </a:r>
            <a:r>
              <a:rPr lang="en-US" err="1"/>
              <a:t>quis</a:t>
            </a:r>
            <a:r>
              <a:rPr lang="en-US"/>
              <a:t>, </a:t>
            </a:r>
            <a:r>
              <a:rPr lang="en-US" err="1"/>
              <a:t>viverra</a:t>
            </a:r>
            <a:r>
              <a:rPr lang="en-US"/>
              <a:t> ante. </a:t>
            </a:r>
            <a:r>
              <a:rPr lang="en-US" err="1"/>
              <a:t>Aliquam</a:t>
            </a:r>
            <a:r>
              <a:rPr lang="en-US"/>
              <a:t> id </a:t>
            </a:r>
            <a:r>
              <a:rPr lang="en-US" err="1"/>
              <a:t>sagittis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at </a:t>
            </a:r>
            <a:r>
              <a:rPr lang="en-US" err="1"/>
              <a:t>placerat</a:t>
            </a:r>
            <a:r>
              <a:rPr lang="en-US"/>
              <a:t> </a:t>
            </a:r>
            <a:r>
              <a:rPr lang="en-US" err="1"/>
              <a:t>lacus</a:t>
            </a:r>
            <a:r>
              <a:rPr lang="en-US"/>
              <a:t>, non </a:t>
            </a:r>
            <a:r>
              <a:rPr lang="en-US" err="1"/>
              <a:t>hendrerit</a:t>
            </a:r>
            <a:r>
              <a:rPr lang="en-US"/>
              <a:t>.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B734B0B-B17D-F12A-60AC-93C306D4A51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66"/>
            <a:ext cx="3420035" cy="6857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6789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 paragraph -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59BE63B-0D5B-FCEF-9D18-A0FAA75F41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5487" y="3429000"/>
            <a:ext cx="6840109" cy="3429000"/>
          </a:xfrm>
          <a:prstGeom prst="rect">
            <a:avLst/>
          </a:prstGeom>
        </p:spPr>
      </p:pic>
      <p:pic>
        <p:nvPicPr>
          <p:cNvPr id="6" name="Picture 5" descr="A black circle with a dark background&#10;&#10;Description automatically generated with medium confidence">
            <a:extLst>
              <a:ext uri="{FF2B5EF4-FFF2-40B4-BE49-F238E27FC236}">
                <a16:creationId xmlns:a16="http://schemas.microsoft.com/office/drawing/2014/main" id="{1F083FE2-5294-93FA-DEB1-2930F5F838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43564" y="0"/>
            <a:ext cx="4448436" cy="3840658"/>
          </a:xfrm>
          <a:prstGeom prst="rect">
            <a:avLst/>
          </a:prstGeom>
        </p:spPr>
      </p:pic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D9703153-ED30-4A13-919C-A650208DA09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0676" y="1348900"/>
            <a:ext cx="4609123" cy="276999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800" b="1">
                <a:gradFill>
                  <a:gsLst>
                    <a:gs pos="100000">
                      <a:schemeClr val="accent2"/>
                    </a:gs>
                    <a:gs pos="30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0FEC1AA-5301-D109-7757-3C8F28BF76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0676" y="422028"/>
            <a:ext cx="11018520" cy="61555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F799C7F5-7F21-7BAC-43ED-755B319581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0676" y="1856262"/>
            <a:ext cx="4622647" cy="1107996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Donec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,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, non </a:t>
            </a:r>
            <a:r>
              <a:rPr lang="en-US" err="1"/>
              <a:t>commodo</a:t>
            </a:r>
            <a:r>
              <a:rPr lang="en-US"/>
              <a:t> dui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diam. </a:t>
            </a:r>
            <a:r>
              <a:rPr lang="en-US" err="1"/>
              <a:t>Nullam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rhoncus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ac </a:t>
            </a:r>
            <a:r>
              <a:rPr lang="en-US" err="1"/>
              <a:t>feugiat</a:t>
            </a:r>
            <a:r>
              <a:rPr lang="en-US"/>
              <a:t>. Maecenas ac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placerat</a:t>
            </a:r>
            <a:r>
              <a:rPr lang="en-US"/>
              <a:t> eros </a:t>
            </a:r>
            <a:r>
              <a:rPr lang="en-US" err="1"/>
              <a:t>quis</a:t>
            </a:r>
            <a:r>
              <a:rPr lang="en-US"/>
              <a:t>, </a:t>
            </a:r>
            <a:r>
              <a:rPr lang="en-US" err="1"/>
              <a:t>viverra</a:t>
            </a:r>
            <a:r>
              <a:rPr lang="en-US"/>
              <a:t> ante. </a:t>
            </a:r>
            <a:r>
              <a:rPr lang="en-US" err="1"/>
              <a:t>Aliquam</a:t>
            </a:r>
            <a:r>
              <a:rPr lang="en-US"/>
              <a:t> id </a:t>
            </a:r>
            <a:r>
              <a:rPr lang="en-US" err="1"/>
              <a:t>sagittis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at </a:t>
            </a:r>
            <a:r>
              <a:rPr lang="en-US" err="1"/>
              <a:t>placerat</a:t>
            </a:r>
            <a:r>
              <a:rPr lang="en-US"/>
              <a:t> </a:t>
            </a:r>
            <a:r>
              <a:rPr lang="en-US" err="1"/>
              <a:t>lacus</a:t>
            </a:r>
            <a:r>
              <a:rPr lang="en-US"/>
              <a:t>, non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0072055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 paragraph -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urple ball and a purple arrow&#10;&#10;Description automatically generated">
            <a:extLst>
              <a:ext uri="{FF2B5EF4-FFF2-40B4-BE49-F238E27FC236}">
                <a16:creationId xmlns:a16="http://schemas.microsoft.com/office/drawing/2014/main" id="{2592AE2A-F199-2824-DF37-915B495401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39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3" descr="A close-up of a purple and black background&#10;&#10;Description automatically generated">
            <a:extLst>
              <a:ext uri="{FF2B5EF4-FFF2-40B4-BE49-F238E27FC236}">
                <a16:creationId xmlns:a16="http://schemas.microsoft.com/office/drawing/2014/main" id="{D1A79AC7-FBA5-7297-749D-8CBBF060D6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7393132" cy="6858000"/>
          </a:xfrm>
          <a:prstGeom prst="rect">
            <a:avLst/>
          </a:prstGeom>
        </p:spPr>
      </p:pic>
      <p:pic>
        <p:nvPicPr>
          <p:cNvPr id="12" name="Picture 11" descr="A purple arrow pointing to a purple ball&#10;&#10;Description automatically generated">
            <a:extLst>
              <a:ext uri="{FF2B5EF4-FFF2-40B4-BE49-F238E27FC236}">
                <a16:creationId xmlns:a16="http://schemas.microsoft.com/office/drawing/2014/main" id="{7A43EBE6-F024-22EC-93C3-5542E742FB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602"/>
          <a:stretch/>
        </p:blipFill>
        <p:spPr>
          <a:xfrm>
            <a:off x="-7168" y="1048"/>
            <a:ext cx="12126919" cy="6821392"/>
          </a:xfrm>
          <a:prstGeom prst="rect">
            <a:avLst/>
          </a:prstGeom>
        </p:spPr>
      </p:pic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3E3797E6-424E-E4F3-E060-DE50009F1A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33111" y="3187362"/>
            <a:ext cx="4609123" cy="276999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800" b="1">
                <a:gradFill>
                  <a:gsLst>
                    <a:gs pos="100000">
                      <a:schemeClr val="accent2"/>
                    </a:gs>
                    <a:gs pos="43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79878C8-780C-6CE7-3371-9E1D884200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33111" y="2260490"/>
            <a:ext cx="4622646" cy="61555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0E405ED-524A-110A-C09E-BB64EABB8D9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3111" y="3694724"/>
            <a:ext cx="4622647" cy="1107996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Donec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,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, non </a:t>
            </a:r>
            <a:r>
              <a:rPr lang="en-US" err="1"/>
              <a:t>commodo</a:t>
            </a:r>
            <a:r>
              <a:rPr lang="en-US"/>
              <a:t> dui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diam. </a:t>
            </a:r>
            <a:r>
              <a:rPr lang="en-US" err="1"/>
              <a:t>Nullam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rhoncus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ac </a:t>
            </a:r>
            <a:r>
              <a:rPr lang="en-US" err="1"/>
              <a:t>feugiat</a:t>
            </a:r>
            <a:r>
              <a:rPr lang="en-US"/>
              <a:t>. Maecenas ac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placerat</a:t>
            </a:r>
            <a:r>
              <a:rPr lang="en-US"/>
              <a:t> eros </a:t>
            </a:r>
            <a:r>
              <a:rPr lang="en-US" err="1"/>
              <a:t>quis</a:t>
            </a:r>
            <a:r>
              <a:rPr lang="en-US"/>
              <a:t>, </a:t>
            </a:r>
            <a:r>
              <a:rPr lang="en-US" err="1"/>
              <a:t>viverra</a:t>
            </a:r>
            <a:r>
              <a:rPr lang="en-US"/>
              <a:t> ante. </a:t>
            </a:r>
            <a:r>
              <a:rPr lang="en-US" err="1"/>
              <a:t>Aliquam</a:t>
            </a:r>
            <a:r>
              <a:rPr lang="en-US"/>
              <a:t> id </a:t>
            </a:r>
            <a:r>
              <a:rPr lang="en-US" err="1"/>
              <a:t>sagittis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at </a:t>
            </a:r>
            <a:r>
              <a:rPr lang="en-US" err="1"/>
              <a:t>placerat</a:t>
            </a:r>
            <a:r>
              <a:rPr lang="en-US"/>
              <a:t> </a:t>
            </a:r>
            <a:r>
              <a:rPr lang="en-US" err="1"/>
              <a:t>lacus</a:t>
            </a:r>
            <a:r>
              <a:rPr lang="en-US"/>
              <a:t>, non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000860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column/subhead/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black and purple background&#10;&#10;Description automatically generated">
            <a:extLst>
              <a:ext uri="{FF2B5EF4-FFF2-40B4-BE49-F238E27FC236}">
                <a16:creationId xmlns:a16="http://schemas.microsoft.com/office/drawing/2014/main" id="{F6E69804-99D2-056F-4EB1-0313896BE0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0" y="4704796"/>
            <a:ext cx="12199749" cy="215867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4C6356C-9532-5436-46A1-619B2A6A7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0677" y="422028"/>
            <a:ext cx="11018520" cy="61555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FEF8026C-7744-AAD9-41CA-C4ABA625DBE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0677" y="1354747"/>
            <a:ext cx="4511136" cy="276999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800" b="1">
                <a:gradFill>
                  <a:gsLst>
                    <a:gs pos="100000">
                      <a:schemeClr val="accent2"/>
                    </a:gs>
                    <a:gs pos="45000">
                      <a:schemeClr val="accent1"/>
                    </a:gs>
                  </a:gsLst>
                  <a:lin ang="48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EBEEF0C1-9DBD-0741-E148-D23B90A645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0677" y="1858677"/>
            <a:ext cx="4511136" cy="1264962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Clr>
                <a:schemeClr val="accent5"/>
              </a:buClr>
              <a:buFontTx/>
              <a:buNone/>
              <a:defRPr lang="en-US" sz="1200" b="0" kern="1200" spc="0" baseline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lang="en-US" sz="1600" dirty="0">
                <a:solidFill>
                  <a:schemeClr val="tx1"/>
                </a:solidFill>
              </a:defRPr>
            </a:lvl2pPr>
            <a:lvl3pPr>
              <a:defRPr lang="en-US" sz="1600" dirty="0">
                <a:solidFill>
                  <a:schemeClr val="tx1"/>
                </a:solidFill>
              </a:defRPr>
            </a:lvl3pPr>
            <a:lvl4pPr>
              <a:defRPr lang="en-US" sz="1400" dirty="0">
                <a:solidFill>
                  <a:schemeClr val="tx1"/>
                </a:solidFill>
              </a:defRPr>
            </a:lvl4pPr>
            <a:lvl5pPr>
              <a:defRPr lang="en-US" sz="1400" dirty="0">
                <a:solidFill>
                  <a:schemeClr val="tx1"/>
                </a:solidFill>
              </a:defRPr>
            </a:lvl5pPr>
          </a:lstStyle>
          <a:p>
            <a:pPr marL="141288" marR="0" lvl="0" indent="-141288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.</a:t>
            </a:r>
          </a:p>
          <a:p>
            <a:pPr marL="141288" marR="0" lvl="0" indent="-141288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Donec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,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, non </a:t>
            </a:r>
            <a:r>
              <a:rPr lang="en-US" err="1"/>
              <a:t>commodo</a:t>
            </a:r>
            <a:r>
              <a:rPr lang="en-US"/>
              <a:t> dui.</a:t>
            </a:r>
          </a:p>
          <a:p>
            <a:pPr marL="141288" marR="0" lvl="0" indent="-141288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 err="1"/>
              <a:t>Nullam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rhoncus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ac </a:t>
            </a:r>
            <a:r>
              <a:rPr lang="en-US" err="1"/>
              <a:t>feugiat</a:t>
            </a:r>
            <a:r>
              <a:rPr lang="en-US"/>
              <a:t>. </a:t>
            </a:r>
          </a:p>
          <a:p>
            <a:pPr marL="141288" marR="0" lvl="0" indent="-141288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Maecenas ac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placerat</a:t>
            </a:r>
            <a:r>
              <a:rPr lang="en-US"/>
              <a:t> eros </a:t>
            </a:r>
            <a:r>
              <a:rPr lang="en-US" err="1"/>
              <a:t>quis</a:t>
            </a:r>
            <a:r>
              <a:rPr lang="en-US"/>
              <a:t>.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855851C6-7894-1086-1B76-8F1549A38A3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62614" y="1858677"/>
            <a:ext cx="4511135" cy="1264962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Clr>
                <a:schemeClr val="accent5"/>
              </a:buClr>
              <a:buFont typeface="Arial" panose="020B0604020202020204" pitchFamily="34" charset="0"/>
              <a:buNone/>
              <a:defRPr lang="en-US" sz="1200" b="0" kern="1200" spc="0" baseline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lang="en-US" sz="1600" dirty="0">
                <a:solidFill>
                  <a:schemeClr val="tx1"/>
                </a:solidFill>
              </a:defRPr>
            </a:lvl2pPr>
            <a:lvl3pPr>
              <a:defRPr lang="en-US" sz="1600" dirty="0">
                <a:solidFill>
                  <a:schemeClr val="tx1"/>
                </a:solidFill>
              </a:defRPr>
            </a:lvl3pPr>
            <a:lvl4pPr>
              <a:defRPr lang="en-US" sz="1400" dirty="0">
                <a:solidFill>
                  <a:schemeClr val="tx1"/>
                </a:solidFill>
              </a:defRPr>
            </a:lvl4pPr>
            <a:lvl5pPr>
              <a:defRPr lang="en-US" sz="1400" dirty="0">
                <a:solidFill>
                  <a:schemeClr val="tx1"/>
                </a:solidFill>
              </a:defRPr>
            </a:lvl5pPr>
          </a:lstStyle>
          <a:p>
            <a:pPr marL="141288" marR="0" lvl="0" indent="-141288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.</a:t>
            </a:r>
          </a:p>
          <a:p>
            <a:pPr marL="141288" marR="0" lvl="0" indent="-141288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Donec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,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, non </a:t>
            </a:r>
            <a:r>
              <a:rPr lang="en-US" err="1"/>
              <a:t>commodo</a:t>
            </a:r>
            <a:r>
              <a:rPr lang="en-US"/>
              <a:t> dui.</a:t>
            </a:r>
          </a:p>
          <a:p>
            <a:pPr marL="141288" marR="0" lvl="0" indent="-141288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 err="1"/>
              <a:t>Nullam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rhoncus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ac </a:t>
            </a:r>
            <a:r>
              <a:rPr lang="en-US" err="1"/>
              <a:t>feugiat</a:t>
            </a:r>
            <a:r>
              <a:rPr lang="en-US"/>
              <a:t>. </a:t>
            </a:r>
          </a:p>
          <a:p>
            <a:pPr marL="141288" marR="0" lvl="0" indent="-141288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Maecenas ac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placerat</a:t>
            </a:r>
            <a:r>
              <a:rPr lang="en-US"/>
              <a:t> eros </a:t>
            </a:r>
            <a:r>
              <a:rPr lang="en-US" err="1"/>
              <a:t>quis</a:t>
            </a:r>
            <a:r>
              <a:rPr lang="en-US"/>
              <a:t>.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ADFC2B44-5232-BE0C-160F-949730398C0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60205" y="1354747"/>
            <a:ext cx="4534378" cy="276999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800" b="1">
                <a:gradFill>
                  <a:gsLst>
                    <a:gs pos="100000">
                      <a:schemeClr val="accent2"/>
                    </a:gs>
                    <a:gs pos="47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60495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  <p15:guide id="4" pos="3660">
          <p15:clr>
            <a:srgbClr val="5ACBF0"/>
          </p15:clr>
        </p15:guide>
        <p15:guide id="5" pos="4024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locks text with subhea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ECC73F5-7DA5-348A-BF60-D3BB9B0D74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5487" y="3429000"/>
            <a:ext cx="6840109" cy="3429000"/>
          </a:xfrm>
          <a:prstGeom prst="rect">
            <a:avLst/>
          </a:prstGeom>
        </p:spPr>
      </p:pic>
      <p:pic>
        <p:nvPicPr>
          <p:cNvPr id="8" name="Picture 7" descr="A black circle with a dark background&#10;&#10;Description automatically generated with medium confidence">
            <a:extLst>
              <a:ext uri="{FF2B5EF4-FFF2-40B4-BE49-F238E27FC236}">
                <a16:creationId xmlns:a16="http://schemas.microsoft.com/office/drawing/2014/main" id="{E40123C1-ECDC-1899-E605-ED07C31B03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43564" y="0"/>
            <a:ext cx="4448436" cy="3840658"/>
          </a:xfrm>
          <a:prstGeom prst="rect">
            <a:avLst/>
          </a:prstGeom>
        </p:spPr>
      </p:pic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B7F8F03D-8454-4767-E458-BF93C976CB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83543" y="1829625"/>
            <a:ext cx="3192272" cy="276999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800" b="1">
                <a:gradFill>
                  <a:gsLst>
                    <a:gs pos="30000">
                      <a:schemeClr val="accent1"/>
                    </a:gs>
                    <a:gs pos="100000">
                      <a:schemeClr val="accent2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C888422-F7CD-FCF1-DEFA-ABEB4D699D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83543" y="2328943"/>
            <a:ext cx="3205796" cy="73866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con </a:t>
            </a:r>
            <a:r>
              <a:rPr lang="en-US" err="1"/>
              <a:t>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Donec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r>
              <a:rPr lang="en-US"/>
              <a:t> </a:t>
            </a:r>
            <a:r>
              <a:rPr lang="en-US" err="1"/>
              <a:t>conse</a:t>
            </a:r>
            <a:r>
              <a:rPr lang="en-US"/>
              <a:t> </a:t>
            </a:r>
            <a:r>
              <a:rPr lang="en-US" err="1"/>
              <a:t>ctetur</a:t>
            </a:r>
            <a:r>
              <a:rPr lang="en-US"/>
              <a:t>,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, non </a:t>
            </a:r>
            <a:r>
              <a:rPr lang="en-US" err="1"/>
              <a:t>commodo</a:t>
            </a:r>
            <a:r>
              <a:rPr lang="en-US"/>
              <a:t> dui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diam.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3ACED0D3-C5CD-8664-E695-2F236B6A0B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83543" y="3683545"/>
            <a:ext cx="3192272" cy="276999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800" b="1">
                <a:gradFill>
                  <a:gsLst>
                    <a:gs pos="30000">
                      <a:schemeClr val="accent1"/>
                    </a:gs>
                    <a:gs pos="100000">
                      <a:schemeClr val="accent2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4AE224D2-3466-9146-EE6E-BA67BED0D1F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83543" y="4182863"/>
            <a:ext cx="3205796" cy="73866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con </a:t>
            </a:r>
            <a:r>
              <a:rPr lang="en-US" err="1"/>
              <a:t>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Donec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r>
              <a:rPr lang="en-US"/>
              <a:t> </a:t>
            </a:r>
            <a:r>
              <a:rPr lang="en-US" err="1"/>
              <a:t>conse</a:t>
            </a:r>
            <a:r>
              <a:rPr lang="en-US"/>
              <a:t> </a:t>
            </a:r>
            <a:r>
              <a:rPr lang="en-US" err="1"/>
              <a:t>ctetur</a:t>
            </a:r>
            <a:r>
              <a:rPr lang="en-US"/>
              <a:t>,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, non </a:t>
            </a:r>
            <a:r>
              <a:rPr lang="en-US" err="1"/>
              <a:t>commodo</a:t>
            </a:r>
            <a:r>
              <a:rPr lang="en-US"/>
              <a:t> dui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diam.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26B0340-D163-DC5F-8A43-6B2FABDB023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11481" y="1829625"/>
            <a:ext cx="3192272" cy="276999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800" b="1">
                <a:gradFill>
                  <a:gsLst>
                    <a:gs pos="30000">
                      <a:schemeClr val="accent1"/>
                    </a:gs>
                    <a:gs pos="100000">
                      <a:schemeClr val="accent2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98B6839-2B15-691F-F547-8CEB738ECA3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11481" y="2328943"/>
            <a:ext cx="3205796" cy="73866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con </a:t>
            </a:r>
            <a:r>
              <a:rPr lang="en-US" err="1"/>
              <a:t>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Donec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r>
              <a:rPr lang="en-US"/>
              <a:t> </a:t>
            </a:r>
            <a:r>
              <a:rPr lang="en-US" err="1"/>
              <a:t>conse</a:t>
            </a:r>
            <a:r>
              <a:rPr lang="en-US"/>
              <a:t> </a:t>
            </a:r>
            <a:r>
              <a:rPr lang="en-US" err="1"/>
              <a:t>ctetur</a:t>
            </a:r>
            <a:r>
              <a:rPr lang="en-US"/>
              <a:t>,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, non </a:t>
            </a:r>
            <a:r>
              <a:rPr lang="en-US" err="1"/>
              <a:t>commodo</a:t>
            </a:r>
            <a:r>
              <a:rPr lang="en-US"/>
              <a:t> dui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diam.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9204744-C252-06A4-7593-B29BB49262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11481" y="3683545"/>
            <a:ext cx="3192272" cy="276999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800" b="1">
                <a:gradFill>
                  <a:gsLst>
                    <a:gs pos="30000">
                      <a:schemeClr val="accent1"/>
                    </a:gs>
                    <a:gs pos="100000">
                      <a:schemeClr val="accent2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A4CCD511-7E08-DA5E-8D35-3B3B0CFDDE0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011481" y="4182863"/>
            <a:ext cx="3205796" cy="73866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con </a:t>
            </a:r>
            <a:r>
              <a:rPr lang="en-US" err="1"/>
              <a:t>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Donec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r>
              <a:rPr lang="en-US"/>
              <a:t> </a:t>
            </a:r>
            <a:r>
              <a:rPr lang="en-US" err="1"/>
              <a:t>conse</a:t>
            </a:r>
            <a:r>
              <a:rPr lang="en-US"/>
              <a:t> </a:t>
            </a:r>
            <a:r>
              <a:rPr lang="en-US" err="1"/>
              <a:t>ctetur</a:t>
            </a:r>
            <a:r>
              <a:rPr lang="en-US"/>
              <a:t>,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, non </a:t>
            </a:r>
            <a:r>
              <a:rPr lang="en-US" err="1"/>
              <a:t>commodo</a:t>
            </a:r>
            <a:r>
              <a:rPr lang="en-US"/>
              <a:t> dui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diam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544D1D7-60B7-26A6-16B6-05E7D79890D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66"/>
            <a:ext cx="3420035" cy="6857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549953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pag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A1A9C5EE-AD9B-C973-7EC3-E784E884F5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2171" y="2189877"/>
            <a:ext cx="6367270" cy="19236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ts val="7500"/>
              </a:lnSpc>
              <a:spcBef>
                <a:spcPct val="0"/>
              </a:spcBef>
              <a:buNone/>
              <a:defRPr lang="en-US" sz="6000" b="1" kern="1200" cap="none" spc="-300" baseline="0" dirty="0">
                <a:ln w="3175">
                  <a:noFill/>
                </a:ln>
                <a:solidFill>
                  <a:schemeClr val="bg1"/>
                </a:solidFill>
                <a:effectLst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962FB5EE-A7CB-45F1-0F33-06C38CDC6B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2171" y="4345640"/>
            <a:ext cx="5430837" cy="276999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7835480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black and purple wave&#10;&#10;Description automatically generated">
            <a:extLst>
              <a:ext uri="{FF2B5EF4-FFF2-40B4-BE49-F238E27FC236}">
                <a16:creationId xmlns:a16="http://schemas.microsoft.com/office/drawing/2014/main" id="{0894BD32-9B8D-551F-6688-FCC37930A8B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-1403244" y="1403239"/>
            <a:ext cx="6857625" cy="4051139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F991CCEE-D8A7-0DB7-70BE-7B1A06D2D7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5487" y="3429000"/>
            <a:ext cx="6840109" cy="3429000"/>
          </a:xfrm>
          <a:prstGeom prst="rect">
            <a:avLst/>
          </a:prstGeom>
        </p:spPr>
      </p:pic>
      <p:pic>
        <p:nvPicPr>
          <p:cNvPr id="7" name="Picture 6" descr="A black circle with a dark background&#10;&#10;Description automatically generated with medium confidence">
            <a:extLst>
              <a:ext uri="{FF2B5EF4-FFF2-40B4-BE49-F238E27FC236}">
                <a16:creationId xmlns:a16="http://schemas.microsoft.com/office/drawing/2014/main" id="{3BAD64EE-8587-AFF9-9259-69EF7FD8E9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43564" y="0"/>
            <a:ext cx="4448436" cy="3840658"/>
          </a:xfrm>
          <a:prstGeom prst="rect">
            <a:avLst/>
          </a:prstGeom>
        </p:spPr>
      </p:pic>
      <p:sp>
        <p:nvSpPr>
          <p:cNvPr id="5" name="Title 2">
            <a:extLst>
              <a:ext uri="{FF2B5EF4-FFF2-40B4-BE49-F238E27FC236}">
                <a16:creationId xmlns:a16="http://schemas.microsoft.com/office/drawing/2014/main" id="{4E57FBE1-0B96-B01A-E10B-82264F460D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77395" y="2461881"/>
            <a:ext cx="4158362" cy="1252793"/>
          </a:xfrm>
        </p:spPr>
        <p:txBody>
          <a:bodyPr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2E87B1D5-4E73-46D1-72DE-AE7A7E8F537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77395" y="3947633"/>
            <a:ext cx="4158362" cy="553998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Donec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,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, non </a:t>
            </a:r>
            <a:r>
              <a:rPr lang="en-US" err="1"/>
              <a:t>commodo</a:t>
            </a:r>
            <a:r>
              <a:rPr lang="en-US"/>
              <a:t> dui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diam.</a:t>
            </a:r>
          </a:p>
        </p:txBody>
      </p:sp>
      <p:sp>
        <p:nvSpPr>
          <p:cNvPr id="4" name="Rounded Rectangle 2">
            <a:extLst>
              <a:ext uri="{FF2B5EF4-FFF2-40B4-BE49-F238E27FC236}">
                <a16:creationId xmlns:a16="http://schemas.microsoft.com/office/drawing/2014/main" id="{C100D46A-2866-B193-6086-DEEB653E74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605576" y="1079344"/>
            <a:ext cx="4812073" cy="4720940"/>
          </a:xfrm>
          <a:prstGeom prst="roundRect">
            <a:avLst>
              <a:gd name="adj" fmla="val 1979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45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381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10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BA028779-EA28-62D7-6D05-CA2F544295B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733485" y="1213954"/>
            <a:ext cx="4556255" cy="4451720"/>
          </a:xfrm>
          <a:solidFill>
            <a:schemeClr val="bg1"/>
          </a:solidFill>
        </p:spPr>
        <p:txBody>
          <a:bodyPr lIns="0" tIns="0" rIns="0" bIns="731520" anchor="ctr" anchorCtr="0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200" b="1" kern="1200" spc="0" baseline="0" dirty="0">
                <a:solidFill>
                  <a:schemeClr val="tx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Drag &amp; drop your photo here or </a:t>
            </a:r>
            <a:br>
              <a:rPr lang="en-US"/>
            </a:br>
            <a:r>
              <a:rPr lang="en-US"/>
              <a:t>click or tap icon below to insert</a:t>
            </a:r>
          </a:p>
        </p:txBody>
      </p:sp>
    </p:spTree>
    <p:extLst>
      <p:ext uri="{BB962C8B-B14F-4D97-AF65-F5344CB8AC3E}">
        <p14:creationId xmlns:p14="http://schemas.microsoft.com/office/powerpoint/2010/main" val="324958680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10" grpId="0" animBg="1"/>
    </p:bldLst>
  </p:timing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3" orient="horz" pos="2880">
          <p15:clr>
            <a:srgbClr val="5ACBF0"/>
          </p15:clr>
        </p15:guide>
        <p15:guide id="4" orient="horz" pos="3024">
          <p15:clr>
            <a:srgbClr val="5ACBF0"/>
          </p15:clr>
        </p15:guide>
        <p15:guide id="8" pos="4631">
          <p15:clr>
            <a:srgbClr val="5ACBF0"/>
          </p15:clr>
        </p15:guide>
        <p15:guide id="9" pos="4593">
          <p15:clr>
            <a:srgbClr val="5ACBF0"/>
          </p15:clr>
        </p15:guide>
        <p15:guide id="10" pos="6134">
          <p15:clr>
            <a:srgbClr val="5ACBF0"/>
          </p15:clr>
        </p15:guide>
        <p15:guide id="11" pos="1323">
          <p15:clr>
            <a:srgbClr val="5ACBF0"/>
          </p15:clr>
        </p15:guide>
        <p15:guide id="12" pos="2865">
          <p15:clr>
            <a:srgbClr val="5ACBF0"/>
          </p15:clr>
        </p15:guide>
        <p15:guide id="13" pos="4815">
          <p15:clr>
            <a:srgbClr val="5ACBF0"/>
          </p15:clr>
        </p15:guide>
        <p15:guide id="14" pos="6361">
          <p15:clr>
            <a:srgbClr val="5ACBF0"/>
          </p15:clr>
        </p15:guide>
        <p15:guide id="15" orient="horz">
          <p15:clr>
            <a:srgbClr val="5ACBF0"/>
          </p15:clr>
        </p15:guide>
        <p15:guide id="16" pos="1727">
          <p15:clr>
            <a:srgbClr val="5ACBF0"/>
          </p15:clr>
        </p15:guide>
        <p15:guide id="17" pos="2294">
          <p15:clr>
            <a:srgbClr val="5ACBF0"/>
          </p15:clr>
        </p15:guide>
        <p15:guide id="18" pos="3273">
          <p15:clr>
            <a:srgbClr val="5ACBF0"/>
          </p15:clr>
        </p15:guide>
        <p15:guide id="19" pos="4411">
          <p15:clr>
            <a:srgbClr val="5ACBF0"/>
          </p15:clr>
        </p15:guide>
        <p15:guide id="21" pos="6179">
          <p15:clr>
            <a:srgbClr val="5ACBF0"/>
          </p15:clr>
        </p15:guide>
        <p15:guide id="22" pos="1501">
          <p15:clr>
            <a:srgbClr val="5ACBF0"/>
          </p15:clr>
        </p15:guide>
        <p15:guide id="23" pos="1543">
          <p15:clr>
            <a:srgbClr val="5ACBF0"/>
          </p15:clr>
        </p15:guide>
        <p15:guide id="24" pos="3049">
          <p15:clr>
            <a:srgbClr val="5ACBF0"/>
          </p15:clr>
        </p15:guide>
        <p15:guide id="25" pos="3088">
          <p15:clr>
            <a:srgbClr val="5ACBF0"/>
          </p15:clr>
        </p15:guide>
        <p15:guide id="26" pos="5954">
          <p15:clr>
            <a:srgbClr val="5ACBF0"/>
          </p15:clr>
        </p15:guide>
        <p15:guide id="27" pos="3840">
          <p15:clr>
            <a:srgbClr val="5ACBF0"/>
          </p15:clr>
        </p15:guide>
        <p15:guide id="28" pos="5386">
          <p15:clr>
            <a:srgbClr val="5ACBF0"/>
          </p15:clr>
        </p15:guide>
        <p15:guide id="29" pos="753">
          <p15:clr>
            <a:srgbClr val="5ACBF0"/>
          </p15:clr>
        </p15:guide>
        <p15:guide id="30" pos="6927">
          <p15:clr>
            <a:srgbClr val="5ACBF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3 round images/text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E8C11A3-69D4-9906-842E-C2B2E87277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5487" y="3438427"/>
            <a:ext cx="6840109" cy="3429000"/>
          </a:xfrm>
          <a:prstGeom prst="rect">
            <a:avLst/>
          </a:prstGeom>
        </p:spPr>
      </p:pic>
      <p:pic>
        <p:nvPicPr>
          <p:cNvPr id="5" name="Picture 4" descr="A black circle with a dark background&#10;&#10;Description automatically generated with medium confidence">
            <a:extLst>
              <a:ext uri="{FF2B5EF4-FFF2-40B4-BE49-F238E27FC236}">
                <a16:creationId xmlns:a16="http://schemas.microsoft.com/office/drawing/2014/main" id="{41062185-3B3A-1274-63F7-3141D2CCE5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52991" y="0"/>
            <a:ext cx="4448436" cy="3840658"/>
          </a:xfrm>
          <a:prstGeom prst="rect">
            <a:avLst/>
          </a:prstGeom>
        </p:spPr>
      </p:pic>
      <p:sp>
        <p:nvSpPr>
          <p:cNvPr id="1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5757E314-6417-4051-A2CD-D3614CAA6A7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ltGray">
          <a:xfrm>
            <a:off x="2037906" y="2286000"/>
            <a:ext cx="2313432" cy="2313432"/>
          </a:xfrm>
          <a:prstGeom prst="ellipse">
            <a:avLst/>
          </a:prstGeom>
          <a:gradFill>
            <a:gsLst>
              <a:gs pos="0">
                <a:schemeClr val="accent5"/>
              </a:gs>
              <a:gs pos="100000">
                <a:schemeClr val="accent1"/>
              </a:gs>
            </a:gsLst>
            <a:lin ang="3600000" scaled="0"/>
          </a:grad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000" b="1">
                <a:solidFill>
                  <a:schemeClr val="tx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BBECFAF-80A0-4620-8865-87562DFB49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37906" y="4838075"/>
            <a:ext cx="2313432" cy="369332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200" b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AD287B4-D736-4707-854D-BEA62EF2BB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9284" y="4838075"/>
            <a:ext cx="2313432" cy="369332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200" b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ED5A27F-D9D2-4DCB-8422-4694477ECA8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840663" y="4838075"/>
            <a:ext cx="2313432" cy="369332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200" b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CD7D6FA-1719-A79E-EAE1-DBA349CB23FA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ltGray">
          <a:xfrm>
            <a:off x="4933506" y="2286000"/>
            <a:ext cx="2313432" cy="2313432"/>
          </a:xfrm>
          <a:prstGeom prst="ellipse">
            <a:avLst/>
          </a:prstGeom>
          <a:gradFill>
            <a:gsLst>
              <a:gs pos="0">
                <a:schemeClr val="accent5"/>
              </a:gs>
              <a:gs pos="100000">
                <a:schemeClr val="accent1"/>
              </a:gs>
            </a:gsLst>
            <a:lin ang="3600000" scaled="0"/>
          </a:grad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000" b="1">
                <a:solidFill>
                  <a:schemeClr val="tx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63542145-93D8-680E-89D6-10B9E52D37E0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ltGray">
          <a:xfrm>
            <a:off x="7834967" y="2286000"/>
            <a:ext cx="2313432" cy="2313432"/>
          </a:xfrm>
          <a:prstGeom prst="ellipse">
            <a:avLst/>
          </a:prstGeom>
          <a:gradFill>
            <a:gsLst>
              <a:gs pos="0">
                <a:schemeClr val="accent5"/>
              </a:gs>
              <a:gs pos="100000">
                <a:schemeClr val="accent1"/>
              </a:gs>
            </a:gsLst>
            <a:lin ang="3600000" scaled="0"/>
          </a:gradFill>
        </p:spPr>
        <p:txBody>
          <a:bodyPr lIns="0" tIns="0" rIns="0" bIns="594360" anchor="ctr" anchorCtr="0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000" b="1" kern="1200" spc="0" baseline="0" dirty="0">
                <a:solidFill>
                  <a:schemeClr val="tx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605E53D-7AC0-960A-378E-BF67CACEB2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6740" y="990597"/>
            <a:ext cx="11018520" cy="615553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477404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3024">
          <p15:clr>
            <a:srgbClr val="5ACBF0"/>
          </p15:clr>
        </p15:guide>
        <p15:guide id="3" pos="3840">
          <p15:clr>
            <a:srgbClr val="5ACBF0"/>
          </p15:clr>
        </p15:guide>
        <p15:guide id="4" pos="1283">
          <p15:clr>
            <a:srgbClr val="5ACBF0"/>
          </p15:clr>
        </p15:guide>
        <p15:guide id="5" pos="5666">
          <p15:clr>
            <a:srgbClr val="5ACBF0"/>
          </p15:clr>
        </p15:guide>
        <p15:guide id="6" pos="2741">
          <p15:clr>
            <a:srgbClr val="5ACBF0"/>
          </p15:clr>
        </p15:guide>
        <p15:guide id="7" pos="2012">
          <p15:clr>
            <a:srgbClr val="5ACBF0"/>
          </p15:clr>
        </p15:guide>
        <p15:guide id="8" pos="3109">
          <p15:clr>
            <a:srgbClr val="5ACBF0"/>
          </p15:clr>
        </p15:guide>
        <p15:guide id="9" pos="4570">
          <p15:clr>
            <a:srgbClr val="5ACBF0"/>
          </p15:clr>
        </p15:guide>
        <p15:guide id="11" pos="6397">
          <p15:clr>
            <a:srgbClr val="5ACBF0"/>
          </p15:clr>
        </p15:guide>
        <p15:guide id="12" orient="horz" pos="1440">
          <p15:clr>
            <a:srgbClr val="5ACBF0"/>
          </p15:clr>
        </p15:guide>
        <p15:guide id="13" pos="4938">
          <p15:clr>
            <a:srgbClr val="5ACBF0"/>
          </p15:clr>
        </p15:guide>
        <p15:guide id="14" orient="horz" pos="2894">
          <p15:clr>
            <a:srgbClr val="5ACBF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hort quote/nam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4B878651-6EA0-F1DE-DDB3-D4C07A4E59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09699" y="2696798"/>
            <a:ext cx="4451089" cy="1107996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</a:t>
            </a:r>
            <a:r>
              <a:rPr lang="en-US"/>
              <a:t> </a:t>
            </a:r>
            <a:r>
              <a:rPr lang="en-US" err="1"/>
              <a:t>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Donec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,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.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52A3F807-DEFB-6026-D7BD-82284EB7FB76}"/>
              </a:ext>
            </a:extLst>
          </p:cNvPr>
          <p:cNvSpPr/>
          <p:nvPr/>
        </p:nvSpPr>
        <p:spPr>
          <a:xfrm flipH="1">
            <a:off x="570676" y="2199576"/>
            <a:ext cx="680608" cy="604267"/>
          </a:xfrm>
          <a:custGeom>
            <a:avLst/>
            <a:gdLst>
              <a:gd name="connsiteX0" fmla="*/ 393237 w 674431"/>
              <a:gd name="connsiteY0" fmla="*/ 0 h 587906"/>
              <a:gd name="connsiteX1" fmla="*/ 616089 w 674431"/>
              <a:gd name="connsiteY1" fmla="*/ 0 h 587906"/>
              <a:gd name="connsiteX2" fmla="*/ 616151 w 674431"/>
              <a:gd name="connsiteY2" fmla="*/ 0 h 587906"/>
              <a:gd name="connsiteX3" fmla="*/ 674431 w 674431"/>
              <a:gd name="connsiteY3" fmla="*/ 58280 h 587906"/>
              <a:gd name="connsiteX4" fmla="*/ 674431 w 674431"/>
              <a:gd name="connsiteY4" fmla="*/ 221738 h 587906"/>
              <a:gd name="connsiteX5" fmla="*/ 597219 w 674431"/>
              <a:gd name="connsiteY5" fmla="*/ 471750 h 587906"/>
              <a:gd name="connsiteX6" fmla="*/ 393361 w 674431"/>
              <a:gd name="connsiteY6" fmla="*/ 587630 h 587906"/>
              <a:gd name="connsiteX7" fmla="*/ 380245 w 674431"/>
              <a:gd name="connsiteY7" fmla="*/ 577174 h 587906"/>
              <a:gd name="connsiteX8" fmla="*/ 380245 w 674431"/>
              <a:gd name="connsiteY8" fmla="*/ 489011 h 587906"/>
              <a:gd name="connsiteX9" fmla="*/ 387484 w 674431"/>
              <a:gd name="connsiteY9" fmla="*/ 478865 h 587906"/>
              <a:gd name="connsiteX10" fmla="*/ 523100 w 674431"/>
              <a:gd name="connsiteY10" fmla="*/ 363541 h 587906"/>
              <a:gd name="connsiteX11" fmla="*/ 540423 w 674431"/>
              <a:gd name="connsiteY11" fmla="*/ 283112 h 587906"/>
              <a:gd name="connsiteX12" fmla="*/ 533308 w 674431"/>
              <a:gd name="connsiteY12" fmla="*/ 276306 h 587906"/>
              <a:gd name="connsiteX13" fmla="*/ 393361 w 674431"/>
              <a:gd name="connsiteY13" fmla="*/ 276306 h 587906"/>
              <a:gd name="connsiteX14" fmla="*/ 374986 w 674431"/>
              <a:gd name="connsiteY14" fmla="*/ 257931 h 587906"/>
              <a:gd name="connsiteX15" fmla="*/ 374986 w 674431"/>
              <a:gd name="connsiteY15" fmla="*/ 18251 h 587906"/>
              <a:gd name="connsiteX16" fmla="*/ 393237 w 674431"/>
              <a:gd name="connsiteY16" fmla="*/ 0 h 587906"/>
              <a:gd name="connsiteX17" fmla="*/ 58466 w 674431"/>
              <a:gd name="connsiteY17" fmla="*/ 0 h 587906"/>
              <a:gd name="connsiteX18" fmla="*/ 281070 w 674431"/>
              <a:gd name="connsiteY18" fmla="*/ 0 h 587906"/>
              <a:gd name="connsiteX19" fmla="*/ 299445 w 674431"/>
              <a:gd name="connsiteY19" fmla="*/ 18375 h 587906"/>
              <a:gd name="connsiteX20" fmla="*/ 299445 w 674431"/>
              <a:gd name="connsiteY20" fmla="*/ 221738 h 587906"/>
              <a:gd name="connsiteX21" fmla="*/ 222233 w 674431"/>
              <a:gd name="connsiteY21" fmla="*/ 471750 h 587906"/>
              <a:gd name="connsiteX22" fmla="*/ 18375 w 674431"/>
              <a:gd name="connsiteY22" fmla="*/ 587630 h 587906"/>
              <a:gd name="connsiteX23" fmla="*/ 5259 w 674431"/>
              <a:gd name="connsiteY23" fmla="*/ 577174 h 587906"/>
              <a:gd name="connsiteX24" fmla="*/ 5259 w 674431"/>
              <a:gd name="connsiteY24" fmla="*/ 489011 h 587906"/>
              <a:gd name="connsiteX25" fmla="*/ 12497 w 674431"/>
              <a:gd name="connsiteY25" fmla="*/ 478865 h 587906"/>
              <a:gd name="connsiteX26" fmla="*/ 148114 w 674431"/>
              <a:gd name="connsiteY26" fmla="*/ 363541 h 587906"/>
              <a:gd name="connsiteX27" fmla="*/ 165437 w 674431"/>
              <a:gd name="connsiteY27" fmla="*/ 283112 h 587906"/>
              <a:gd name="connsiteX28" fmla="*/ 158322 w 674431"/>
              <a:gd name="connsiteY28" fmla="*/ 276306 h 587906"/>
              <a:gd name="connsiteX29" fmla="*/ 18375 w 674431"/>
              <a:gd name="connsiteY29" fmla="*/ 276306 h 587906"/>
              <a:gd name="connsiteX30" fmla="*/ 0 w 674431"/>
              <a:gd name="connsiteY30" fmla="*/ 257931 h 587906"/>
              <a:gd name="connsiteX31" fmla="*/ 0 w 674431"/>
              <a:gd name="connsiteY31" fmla="*/ 58466 h 587906"/>
              <a:gd name="connsiteX32" fmla="*/ 58466 w 674431"/>
              <a:gd name="connsiteY32" fmla="*/ 0 h 587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674431" h="587906">
                <a:moveTo>
                  <a:pt x="393237" y="0"/>
                </a:moveTo>
                <a:lnTo>
                  <a:pt x="616089" y="0"/>
                </a:lnTo>
                <a:lnTo>
                  <a:pt x="616151" y="0"/>
                </a:lnTo>
                <a:cubicBezTo>
                  <a:pt x="648322" y="0"/>
                  <a:pt x="674431" y="26109"/>
                  <a:pt x="674431" y="58280"/>
                </a:cubicBezTo>
                <a:lnTo>
                  <a:pt x="674431" y="221738"/>
                </a:lnTo>
                <a:cubicBezTo>
                  <a:pt x="674431" y="328152"/>
                  <a:pt x="648694" y="411490"/>
                  <a:pt x="597219" y="471750"/>
                </a:cubicBezTo>
                <a:cubicBezTo>
                  <a:pt x="548157" y="529102"/>
                  <a:pt x="480225" y="567770"/>
                  <a:pt x="393361" y="587630"/>
                </a:cubicBezTo>
                <a:cubicBezTo>
                  <a:pt x="386679" y="589177"/>
                  <a:pt x="380245" y="584042"/>
                  <a:pt x="380245" y="577174"/>
                </a:cubicBezTo>
                <a:lnTo>
                  <a:pt x="380245" y="489011"/>
                </a:lnTo>
                <a:cubicBezTo>
                  <a:pt x="380245" y="484433"/>
                  <a:pt x="383153" y="480288"/>
                  <a:pt x="387484" y="478865"/>
                </a:cubicBezTo>
                <a:cubicBezTo>
                  <a:pt x="454240" y="456778"/>
                  <a:pt x="499466" y="418295"/>
                  <a:pt x="523100" y="363541"/>
                </a:cubicBezTo>
                <a:cubicBezTo>
                  <a:pt x="535969" y="335824"/>
                  <a:pt x="541784" y="309035"/>
                  <a:pt x="540423" y="283112"/>
                </a:cubicBezTo>
                <a:cubicBezTo>
                  <a:pt x="540238" y="279276"/>
                  <a:pt x="537082" y="276306"/>
                  <a:pt x="533308" y="276306"/>
                </a:cubicBezTo>
                <a:lnTo>
                  <a:pt x="393361" y="276306"/>
                </a:lnTo>
                <a:cubicBezTo>
                  <a:pt x="383215" y="276306"/>
                  <a:pt x="374986" y="268078"/>
                  <a:pt x="374986" y="257931"/>
                </a:cubicBezTo>
                <a:lnTo>
                  <a:pt x="374986" y="18251"/>
                </a:lnTo>
                <a:cubicBezTo>
                  <a:pt x="374986" y="8167"/>
                  <a:pt x="383153" y="0"/>
                  <a:pt x="393237" y="0"/>
                </a:cubicBezTo>
                <a:close/>
                <a:moveTo>
                  <a:pt x="58466" y="0"/>
                </a:moveTo>
                <a:lnTo>
                  <a:pt x="281070" y="0"/>
                </a:lnTo>
                <a:cubicBezTo>
                  <a:pt x="291216" y="0"/>
                  <a:pt x="299445" y="8229"/>
                  <a:pt x="299445" y="18375"/>
                </a:cubicBezTo>
                <a:lnTo>
                  <a:pt x="299445" y="221738"/>
                </a:lnTo>
                <a:cubicBezTo>
                  <a:pt x="299445" y="328152"/>
                  <a:pt x="273708" y="411490"/>
                  <a:pt x="222233" y="471750"/>
                </a:cubicBezTo>
                <a:cubicBezTo>
                  <a:pt x="173171" y="529102"/>
                  <a:pt x="105239" y="567770"/>
                  <a:pt x="18375" y="587630"/>
                </a:cubicBezTo>
                <a:cubicBezTo>
                  <a:pt x="11631" y="589177"/>
                  <a:pt x="5259" y="584042"/>
                  <a:pt x="5259" y="577174"/>
                </a:cubicBezTo>
                <a:lnTo>
                  <a:pt x="5259" y="489011"/>
                </a:lnTo>
                <a:cubicBezTo>
                  <a:pt x="5259" y="484433"/>
                  <a:pt x="8167" y="480288"/>
                  <a:pt x="12497" y="478865"/>
                </a:cubicBezTo>
                <a:cubicBezTo>
                  <a:pt x="79254" y="456778"/>
                  <a:pt x="124480" y="418295"/>
                  <a:pt x="148114" y="363541"/>
                </a:cubicBezTo>
                <a:cubicBezTo>
                  <a:pt x="160983" y="335824"/>
                  <a:pt x="166798" y="309035"/>
                  <a:pt x="165437" y="283112"/>
                </a:cubicBezTo>
                <a:cubicBezTo>
                  <a:pt x="165252" y="279276"/>
                  <a:pt x="162096" y="276306"/>
                  <a:pt x="158322" y="276306"/>
                </a:cubicBezTo>
                <a:lnTo>
                  <a:pt x="18375" y="276306"/>
                </a:lnTo>
                <a:cubicBezTo>
                  <a:pt x="8229" y="276306"/>
                  <a:pt x="0" y="268078"/>
                  <a:pt x="0" y="257931"/>
                </a:cubicBezTo>
                <a:lnTo>
                  <a:pt x="0" y="58466"/>
                </a:lnTo>
                <a:cubicBezTo>
                  <a:pt x="0" y="26171"/>
                  <a:pt x="26171" y="0"/>
                  <a:pt x="58466" y="0"/>
                </a:cubicBezTo>
                <a:close/>
              </a:path>
            </a:pathLst>
          </a:custGeom>
          <a:solidFill>
            <a:schemeClr val="accent1"/>
          </a:solidFill>
          <a:ln w="611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6B8F6EDE-3287-C98A-2287-E97E9546E9E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09699" y="4036953"/>
            <a:ext cx="4451089" cy="184666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200" b="0" spc="0" baseline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pic>
        <p:nvPicPr>
          <p:cNvPr id="2" name="Picture 1" descr="A purple dot pattern on a black background&#10;&#10;Description automatically generated">
            <a:extLst>
              <a:ext uri="{FF2B5EF4-FFF2-40B4-BE49-F238E27FC236}">
                <a16:creationId xmlns:a16="http://schemas.microsoft.com/office/drawing/2014/main" id="{C87F9B58-0572-5401-2FFB-58A8754770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94493" y="7025"/>
            <a:ext cx="8906934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45523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 - 8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group of colorful cylinders&#10;&#10;Description automatically generated">
            <a:extLst>
              <a:ext uri="{FF2B5EF4-FFF2-40B4-BE49-F238E27FC236}">
                <a16:creationId xmlns:a16="http://schemas.microsoft.com/office/drawing/2014/main" id="{B9967197-9769-716E-7FA6-3534E9C697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3D7A6EF0-71D6-113F-2479-C32536FC11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562684" y="2485571"/>
            <a:ext cx="5452803" cy="1046440"/>
          </a:xfrm>
          <a:noFill/>
        </p:spPr>
        <p:txBody>
          <a:bodyPr vert="horz" wrap="square" lIns="0" tIns="0" rIns="0" bIns="0" rtlCol="0" anchor="t" anchorCtr="0">
            <a:spAutoFit/>
          </a:bodyPr>
          <a:lstStyle>
            <a:lvl1pPr>
              <a:lnSpc>
                <a:spcPct val="85000"/>
              </a:lnSpc>
              <a:defRPr lang="en-US" sz="40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Demo:</a:t>
            </a:r>
            <a:br>
              <a:rPr lang="en-US"/>
            </a:br>
            <a:r>
              <a:rPr lang="en-US"/>
              <a:t>Demo title her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F03C7CF-185F-5124-97E2-971F562274D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62684" y="3774455"/>
            <a:ext cx="5452803" cy="276999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800" b="1" spc="0" baseline="0">
                <a:solidFill>
                  <a:schemeClr val="bg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Speaker name or subtitle text 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56AA86E6-0CD7-56AE-6403-89E56112E144}"/>
              </a:ext>
            </a:extLst>
          </p:cNvPr>
          <p:cNvSpPr/>
          <p:nvPr userDrawn="1"/>
        </p:nvSpPr>
        <p:spPr bwMode="auto">
          <a:xfrm>
            <a:off x="573864" y="521487"/>
            <a:ext cx="1550569" cy="1550569"/>
          </a:xfrm>
          <a:prstGeom prst="ellipse">
            <a:avLst/>
          </a:prstGeom>
          <a:noFill/>
          <a:ln w="25400">
            <a:gradFill>
              <a:gsLst>
                <a:gs pos="0">
                  <a:schemeClr val="accent5"/>
                </a:gs>
                <a:gs pos="100000">
                  <a:schemeClr val="accent1"/>
                </a:gs>
              </a:gsLst>
              <a:lin ang="3600000" scaled="0"/>
            </a:gradFill>
            <a:headEnd type="none" w="med" len="med"/>
            <a:tailEnd type="none" w="med" len="med"/>
          </a:ln>
          <a:effectLst>
            <a:outerShdw blurRad="952500" dist="444500" dir="5400000" algn="ctr" rotWithShape="0">
              <a:schemeClr val="accent5">
                <a:alpha val="30000"/>
              </a:scheme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9FFDBFBB-1F0F-8308-F2FF-A3A7287183A6}"/>
              </a:ext>
            </a:extLst>
          </p:cNvPr>
          <p:cNvSpPr>
            <a:spLocks noGrp="1" noChangeAspect="1"/>
          </p:cNvSpPr>
          <p:nvPr>
            <p:ph type="pic" sz="quarter" idx="27" hasCustomPrompt="1"/>
          </p:nvPr>
        </p:nvSpPr>
        <p:spPr bwMode="ltGray">
          <a:xfrm>
            <a:off x="718931" y="666554"/>
            <a:ext cx="1260435" cy="1260435"/>
          </a:xfrm>
          <a:prstGeom prst="ellipse">
            <a:avLst/>
          </a:prstGeom>
          <a:gradFill>
            <a:gsLst>
              <a:gs pos="0">
                <a:schemeClr val="accent5"/>
              </a:gs>
              <a:gs pos="100000">
                <a:schemeClr val="accent1"/>
              </a:gs>
            </a:gsLst>
            <a:lin ang="3600000" scaled="0"/>
          </a:gradFill>
        </p:spPr>
        <p:txBody>
          <a:bodyPr lIns="0" tIns="64008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lang="en-US" sz="800" b="1" i="0" cap="none" spc="0" baseline="0" dirty="0">
                <a:solidFill>
                  <a:schemeClr val="bg2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r>
              <a:rPr lang="en-US"/>
              <a:t>Drag &amp; drop your photo here or click or tap icon below to insert</a:t>
            </a:r>
          </a:p>
        </p:txBody>
      </p:sp>
    </p:spTree>
    <p:extLst>
      <p:ext uri="{BB962C8B-B14F-4D97-AF65-F5344CB8AC3E}">
        <p14:creationId xmlns:p14="http://schemas.microsoft.com/office/powerpoint/2010/main" val="30816244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7D0E0288-8E0A-F00F-796C-D26BE8C943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566159"/>
            <a:ext cx="12191998" cy="3291841"/>
          </a:xfrm>
          <a:prstGeom prst="rect">
            <a:avLst/>
          </a:prstGeom>
        </p:spPr>
      </p:pic>
      <p:pic>
        <p:nvPicPr>
          <p:cNvPr id="29" name="Picture 28" descr="A purple and black wave&#10;&#10;Description automatically generated">
            <a:extLst>
              <a:ext uri="{FF2B5EF4-FFF2-40B4-BE49-F238E27FC236}">
                <a16:creationId xmlns:a16="http://schemas.microsoft.com/office/drawing/2014/main" id="{D99C6AD2-7494-D70F-BCCB-271DA4C4C3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132324"/>
            <a:ext cx="12192000" cy="2725676"/>
          </a:xfrm>
          <a:prstGeom prst="rect">
            <a:avLst/>
          </a:prstGeom>
        </p:spPr>
      </p:pic>
      <p:pic>
        <p:nvPicPr>
          <p:cNvPr id="30" name="Picture 29" descr="A black and purple wave&#10;&#10;Description automatically generated">
            <a:extLst>
              <a:ext uri="{FF2B5EF4-FFF2-40B4-BE49-F238E27FC236}">
                <a16:creationId xmlns:a16="http://schemas.microsoft.com/office/drawing/2014/main" id="{76AD66EA-8CEA-0BE0-8425-25B37B9815A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835760"/>
            <a:ext cx="12192000" cy="3022239"/>
          </a:xfrm>
          <a:prstGeom prst="rect">
            <a:avLst/>
          </a:prstGeom>
        </p:spPr>
      </p:pic>
      <p:sp>
        <p:nvSpPr>
          <p:cNvPr id="8" name="Rounded Rectangle 2">
            <a:extLst>
              <a:ext uri="{FF2B5EF4-FFF2-40B4-BE49-F238E27FC236}">
                <a16:creationId xmlns:a16="http://schemas.microsoft.com/office/drawing/2014/main" id="{8A905A78-3C11-0D32-DFFE-B02ECDB382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1784878" y="1335987"/>
            <a:ext cx="8624158" cy="4996803"/>
          </a:xfrm>
          <a:prstGeom prst="roundRect">
            <a:avLst>
              <a:gd name="adj" fmla="val 1979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3000000" scaled="0"/>
            </a:gradFill>
            <a:prstDash val="solid"/>
          </a:ln>
          <a:effectLst>
            <a:outerShdw blurRad="381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C6A3F06-F39E-0E7A-B941-89CAC31761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6740" y="422028"/>
            <a:ext cx="11018520" cy="615553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B6B27B95-163F-794F-AD82-1273F49EB9B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ltGray">
          <a:xfrm>
            <a:off x="1968594" y="1510327"/>
            <a:ext cx="8253106" cy="4650863"/>
          </a:xfrm>
          <a:gradFill>
            <a:gsLst>
              <a:gs pos="0">
                <a:schemeClr val="accent5"/>
              </a:gs>
              <a:gs pos="100000">
                <a:schemeClr val="accent1"/>
              </a:gs>
            </a:gsLst>
            <a:lin ang="3000000" scaled="0"/>
          </a:gradFill>
        </p:spPr>
        <p:txBody>
          <a:bodyPr lIns="0" tIns="0" rIns="0" bIns="731520" anchor="ctr" anchorCtr="0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200" b="1" kern="1200" spc="0" baseline="0" dirty="0">
                <a:solidFill>
                  <a:schemeClr val="tx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Drag &amp; drop your photo here or </a:t>
            </a:r>
            <a:br>
              <a:rPr lang="en-US"/>
            </a:br>
            <a:r>
              <a:rPr lang="en-US"/>
              <a:t>click or tap icon below to insert</a:t>
            </a:r>
          </a:p>
        </p:txBody>
      </p:sp>
    </p:spTree>
    <p:extLst>
      <p:ext uri="{BB962C8B-B14F-4D97-AF65-F5344CB8AC3E}">
        <p14:creationId xmlns:p14="http://schemas.microsoft.com/office/powerpoint/2010/main" val="393440362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52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reensho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dark spot in the sky&#10;&#10;Description automatically generated">
            <a:extLst>
              <a:ext uri="{FF2B5EF4-FFF2-40B4-BE49-F238E27FC236}">
                <a16:creationId xmlns:a16="http://schemas.microsoft.com/office/drawing/2014/main" id="{42E63D0D-11CF-3AF8-53F5-F3DA021D08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5945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9" name="Picture 8" descr="A purple and black wave&#10;&#10;Description automatically generated">
            <a:extLst>
              <a:ext uri="{FF2B5EF4-FFF2-40B4-BE49-F238E27FC236}">
                <a16:creationId xmlns:a16="http://schemas.microsoft.com/office/drawing/2014/main" id="{93F35881-457B-7B94-A777-70C6911640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132324"/>
            <a:ext cx="12192000" cy="2725676"/>
          </a:xfrm>
          <a:prstGeom prst="rect">
            <a:avLst/>
          </a:prstGeom>
        </p:spPr>
      </p:pic>
      <p:pic>
        <p:nvPicPr>
          <p:cNvPr id="10" name="Picture 9" descr="A black and purple wave&#10;&#10;Description automatically generated">
            <a:extLst>
              <a:ext uri="{FF2B5EF4-FFF2-40B4-BE49-F238E27FC236}">
                <a16:creationId xmlns:a16="http://schemas.microsoft.com/office/drawing/2014/main" id="{D14E455D-05D0-C20D-6C0D-4ABD125BA8D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338250"/>
            <a:ext cx="12192000" cy="4519749"/>
          </a:xfrm>
          <a:prstGeom prst="rect">
            <a:avLst/>
          </a:prstGeom>
        </p:spPr>
      </p:pic>
      <p:sp>
        <p:nvSpPr>
          <p:cNvPr id="2" name="Rounded Rectangle 2">
            <a:extLst>
              <a:ext uri="{FF2B5EF4-FFF2-40B4-BE49-F238E27FC236}">
                <a16:creationId xmlns:a16="http://schemas.microsoft.com/office/drawing/2014/main" id="{4A17643A-6A86-9A01-DDF2-B07A321A65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1029730" y="521407"/>
            <a:ext cx="10134086" cy="5815185"/>
          </a:xfrm>
          <a:prstGeom prst="roundRect">
            <a:avLst>
              <a:gd name="adj" fmla="val 1979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3000000" scaled="0"/>
            </a:gradFill>
            <a:prstDash val="solid"/>
          </a:ln>
          <a:effectLst>
            <a:outerShdw blurRad="381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F458A6A-4BBD-5B1C-AAF8-85B49EB90D3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ltGray">
          <a:xfrm>
            <a:off x="1175730" y="656286"/>
            <a:ext cx="9840535" cy="5545426"/>
          </a:xfrm>
          <a:gradFill>
            <a:gsLst>
              <a:gs pos="0">
                <a:schemeClr val="accent5"/>
              </a:gs>
              <a:gs pos="100000">
                <a:schemeClr val="accent1"/>
              </a:gs>
            </a:gsLst>
            <a:lin ang="3000000" scaled="0"/>
          </a:gradFill>
        </p:spPr>
        <p:txBody>
          <a:bodyPr lIns="0" tIns="0" rIns="0" bIns="731520" anchor="ctr" anchorCtr="0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200" b="1" kern="1200" spc="0" baseline="0" dirty="0">
                <a:solidFill>
                  <a:schemeClr val="tx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Drag &amp; drop your photo here or </a:t>
            </a:r>
            <a:br>
              <a:rPr lang="en-US"/>
            </a:br>
            <a:r>
              <a:rPr lang="en-US"/>
              <a:t>click or tap icon below to insert</a:t>
            </a:r>
          </a:p>
        </p:txBody>
      </p:sp>
    </p:spTree>
    <p:extLst>
      <p:ext uri="{BB962C8B-B14F-4D97-AF65-F5344CB8AC3E}">
        <p14:creationId xmlns:p14="http://schemas.microsoft.com/office/powerpoint/2010/main" val="21543454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purple circle&#10;&#10;Description automatically generated">
            <a:extLst>
              <a:ext uri="{FF2B5EF4-FFF2-40B4-BE49-F238E27FC236}">
                <a16:creationId xmlns:a16="http://schemas.microsoft.com/office/drawing/2014/main" id="{81EF7B7D-CDF8-B5CE-DC39-6B12AC0933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8213" y="3850085"/>
            <a:ext cx="6840110" cy="3017342"/>
          </a:xfrm>
          <a:prstGeom prst="rect">
            <a:avLst/>
          </a:prstGeom>
        </p:spPr>
      </p:pic>
      <p:pic>
        <p:nvPicPr>
          <p:cNvPr id="11" name="Picture 10" descr="A purple circle in the dark&#10;&#10;Description automatically generated">
            <a:extLst>
              <a:ext uri="{FF2B5EF4-FFF2-40B4-BE49-F238E27FC236}">
                <a16:creationId xmlns:a16="http://schemas.microsoft.com/office/drawing/2014/main" id="{E59F0803-2015-FC8C-7DD4-2FD9BE26C6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49233" y="0"/>
            <a:ext cx="4252194" cy="342900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C69E385E-6024-1898-40D5-E810CB62D4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24000" y="3055052"/>
            <a:ext cx="9144000" cy="747897"/>
          </a:xfrm>
          <a:noFill/>
        </p:spPr>
        <p:txBody>
          <a:bodyPr vert="horz" wrap="square" lIns="0" tIns="0" rIns="0" bIns="0" rtlCol="0" anchor="ctr" anchorCtr="0">
            <a:spAutoFit/>
          </a:bodyPr>
          <a:lstStyle>
            <a:lvl1pPr algn="ctr">
              <a:defRPr lang="en-US" sz="5400" b="1" dirty="0">
                <a:gradFill>
                  <a:gsLst>
                    <a:gs pos="100000">
                      <a:schemeClr val="accent2"/>
                    </a:gs>
                    <a:gs pos="21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69659487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52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5ACBF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 page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81F2F9F-8FDA-53F6-5F2E-F6FE8F0449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5487" y="3429000"/>
            <a:ext cx="6840109" cy="3429000"/>
          </a:xfrm>
          <a:prstGeom prst="rect">
            <a:avLst/>
          </a:prstGeom>
        </p:spPr>
      </p:pic>
      <p:pic>
        <p:nvPicPr>
          <p:cNvPr id="5" name="Picture 4" descr="A black circle with a dark background&#10;&#10;Description automatically generated with medium confidence">
            <a:extLst>
              <a:ext uri="{FF2B5EF4-FFF2-40B4-BE49-F238E27FC236}">
                <a16:creationId xmlns:a16="http://schemas.microsoft.com/office/drawing/2014/main" id="{4E1E4492-E365-48F5-FDE6-0B9C41FE5F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43564" y="0"/>
            <a:ext cx="4448436" cy="3840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78762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52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5ACBF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pag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5249458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52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5ACBF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 3 - 10 secti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3D3F8C47-2330-0ECD-CC34-56496A88E1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5487" y="3429000"/>
            <a:ext cx="6840109" cy="3429000"/>
          </a:xfrm>
          <a:prstGeom prst="rect">
            <a:avLst/>
          </a:prstGeom>
        </p:spPr>
      </p:pic>
      <p:pic>
        <p:nvPicPr>
          <p:cNvPr id="26" name="Picture 25" descr="A black circle with a dark background&#10;&#10;Description automatically generated with medium confidence">
            <a:extLst>
              <a:ext uri="{FF2B5EF4-FFF2-40B4-BE49-F238E27FC236}">
                <a16:creationId xmlns:a16="http://schemas.microsoft.com/office/drawing/2014/main" id="{2AD6C0AB-8934-DE6B-47DF-94B147208F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51313" y="0"/>
            <a:ext cx="4448436" cy="3840658"/>
          </a:xfrm>
          <a:prstGeom prst="rect">
            <a:avLst/>
          </a:prstGeom>
        </p:spPr>
      </p:pic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83F8963C-861F-3BC3-237B-7B8D90401B6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2613" y="2902990"/>
            <a:ext cx="3613209" cy="492443"/>
          </a:xfrm>
        </p:spPr>
        <p:txBody>
          <a:bodyPr/>
          <a:lstStyle>
            <a:lvl1pPr>
              <a:defRPr sz="3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y 00</a:t>
            </a:r>
          </a:p>
        </p:txBody>
      </p:sp>
      <p:sp>
        <p:nvSpPr>
          <p:cNvPr id="13" name="object 9">
            <a:extLst>
              <a:ext uri="{FF2B5EF4-FFF2-40B4-BE49-F238E27FC236}">
                <a16:creationId xmlns:a16="http://schemas.microsoft.com/office/drawing/2014/main" id="{A5609C94-B898-A606-3CB5-3DA2B3E6D6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718204" y="1214343"/>
            <a:ext cx="114227" cy="4475763"/>
          </a:xfrm>
          <a:custGeom>
            <a:avLst/>
            <a:gdLst/>
            <a:ahLst/>
            <a:cxnLst/>
            <a:rect l="l" t="t" r="r" b="b"/>
            <a:pathLst>
              <a:path h="3675379">
                <a:moveTo>
                  <a:pt x="0" y="0"/>
                </a:moveTo>
                <a:lnTo>
                  <a:pt x="0" y="3674821"/>
                </a:lnTo>
              </a:path>
            </a:pathLst>
          </a:custGeom>
          <a:noFill/>
          <a:ln w="38100" cap="rnd" cmpd="sng" algn="ctr">
            <a:solidFill>
              <a:schemeClr val="accent1"/>
            </a:solidFill>
            <a:prstDash val="sysDot"/>
            <a:round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28" b="0" i="0" u="none" strike="noStrike" kern="0" cap="none" spc="0" normalizeH="0" baseline="0" noProof="0">
              <a:ln>
                <a:noFill/>
              </a:ln>
              <a:solidFill>
                <a:srgbClr val="2A446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2874AF2B-33AE-F67E-9C9B-BE06561CD5F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2613" y="3539610"/>
            <a:ext cx="3613209" cy="492443"/>
          </a:xfrm>
        </p:spPr>
        <p:txBody>
          <a:bodyPr/>
          <a:lstStyle>
            <a:lvl1pPr>
              <a:defRPr sz="3200" b="1">
                <a:gradFill>
                  <a:gsLst>
                    <a:gs pos="100000">
                      <a:schemeClr val="accent2"/>
                    </a:gs>
                    <a:gs pos="16000">
                      <a:schemeClr val="accent1"/>
                    </a:gs>
                  </a:gsLst>
                  <a:lin ang="2700000" scaled="1"/>
                </a:gradFill>
              </a:defRPr>
            </a:lvl1pPr>
          </a:lstStyle>
          <a:p>
            <a:pPr lvl="0"/>
            <a:r>
              <a:rPr lang="en-US"/>
              <a:t>Agenda</a:t>
            </a:r>
          </a:p>
        </p:txBody>
      </p:sp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D25FCE67-0B39-7DAB-46B1-5E210220F89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120072" y="1214342"/>
            <a:ext cx="1102497" cy="215444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1">
                <a:gradFill>
                  <a:gsLst>
                    <a:gs pos="100000">
                      <a:schemeClr val="accent2"/>
                    </a:gs>
                    <a:gs pos="47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9:05-9:30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13B42117-9431-7E96-AC19-2BF5608EAF6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436111" y="1214342"/>
            <a:ext cx="5173276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Welcome and opening remarks</a:t>
            </a:r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D5FC80C2-58A2-3B85-4839-52ECBE1D072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20072" y="1636504"/>
            <a:ext cx="1102497" cy="215444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1">
                <a:gradFill>
                  <a:gsLst>
                    <a:gs pos="100000">
                      <a:schemeClr val="accent2"/>
                    </a:gs>
                    <a:gs pos="47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9:30-10:30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513320D7-97EA-D5E2-E96C-A9217D66348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120072" y="2058666"/>
            <a:ext cx="1102497" cy="215444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1">
                <a:gradFill>
                  <a:gsLst>
                    <a:gs pos="100000">
                      <a:schemeClr val="accent2"/>
                    </a:gs>
                    <a:gs pos="47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10:30-11:30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6AF2B363-773C-2FBD-BEF2-79CB30A5944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20072" y="2480828"/>
            <a:ext cx="1102497" cy="215444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1">
                <a:gradFill>
                  <a:gsLst>
                    <a:gs pos="100000">
                      <a:schemeClr val="accent2"/>
                    </a:gs>
                    <a:gs pos="47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11:30-12:30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0BF958A6-E2E6-445F-03FD-F221BAC30DD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120072" y="2902990"/>
            <a:ext cx="1102497" cy="215444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1">
                <a:gradFill>
                  <a:gsLst>
                    <a:gs pos="100000">
                      <a:schemeClr val="accent2"/>
                    </a:gs>
                    <a:gs pos="47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12:30-1:00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3208908E-6209-A454-B05C-1A8D869E2C8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120072" y="3325152"/>
            <a:ext cx="1102497" cy="215444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1">
                <a:gradFill>
                  <a:gsLst>
                    <a:gs pos="100000">
                      <a:schemeClr val="accent2"/>
                    </a:gs>
                    <a:gs pos="47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1:00-1:30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CE64AF40-AE55-0824-1FFB-D96B14FD5EF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120072" y="3747314"/>
            <a:ext cx="1102497" cy="215444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1">
                <a:gradFill>
                  <a:gsLst>
                    <a:gs pos="100000">
                      <a:schemeClr val="accent2"/>
                    </a:gs>
                    <a:gs pos="47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1:30-2:00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EA7CC8A3-3714-9E29-8049-52411B7D0A6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120072" y="4169476"/>
            <a:ext cx="1102497" cy="215444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1">
                <a:gradFill>
                  <a:gsLst>
                    <a:gs pos="100000">
                      <a:schemeClr val="accent2"/>
                    </a:gs>
                    <a:gs pos="47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2:00-2:30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C3077BE9-3824-42D1-2983-3E29D8EC361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120072" y="4591638"/>
            <a:ext cx="1102497" cy="215444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1">
                <a:gradFill>
                  <a:gsLst>
                    <a:gs pos="100000">
                      <a:schemeClr val="accent2"/>
                    </a:gs>
                    <a:gs pos="47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2:30-3:00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CEF23AA3-B8F3-D595-993E-29875EAF7CA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120072" y="5013800"/>
            <a:ext cx="1102497" cy="215444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1">
                <a:gradFill>
                  <a:gsLst>
                    <a:gs pos="100000">
                      <a:schemeClr val="accent2"/>
                    </a:gs>
                    <a:gs pos="47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3:00-3:30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DAEFB43D-1F7D-5DB2-5248-0BB762F972D4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120072" y="5435963"/>
            <a:ext cx="1102497" cy="215444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1">
                <a:gradFill>
                  <a:gsLst>
                    <a:gs pos="100000">
                      <a:schemeClr val="accent2"/>
                    </a:gs>
                    <a:gs pos="47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3:30-5:00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0D108966-0742-684C-549F-B911061ED1BB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436111" y="1636671"/>
            <a:ext cx="5173276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Second activity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801EE734-0729-CCDA-A46D-E297985CB4E3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436111" y="2059000"/>
            <a:ext cx="5173276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Break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649EF76-FB4B-B2FF-FC03-C6513F4C9C79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436111" y="2481329"/>
            <a:ext cx="5173276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rd activity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2DA66843-AD30-27DC-22B5-34AB1CE51291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436111" y="2903658"/>
            <a:ext cx="5173276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Lunch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F6A8558-E261-5328-DB8D-35059F6B83AD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436111" y="3325987"/>
            <a:ext cx="5173276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Fourth activity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D981115B-0D15-C94D-A512-89733D14A0B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436111" y="3748316"/>
            <a:ext cx="5173276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Fifth activity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9500E6A0-6FE0-2DDB-D26C-EAC14A2F827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436111" y="4170645"/>
            <a:ext cx="5173276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Break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83021EF6-5D08-0113-C3C9-5014E8719784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436111" y="4592974"/>
            <a:ext cx="5173276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Sixth activity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B3A14614-A23D-2183-1857-807B308460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436111" y="5015303"/>
            <a:ext cx="5173276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Wrap-Up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798E9E31-BC62-8268-2948-1F81F4FF04E4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436111" y="5437632"/>
            <a:ext cx="5173276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Social</a:t>
            </a:r>
          </a:p>
        </p:txBody>
      </p:sp>
    </p:spTree>
    <p:extLst>
      <p:ext uri="{BB962C8B-B14F-4D97-AF65-F5344CB8AC3E}">
        <p14:creationId xmlns:p14="http://schemas.microsoft.com/office/powerpoint/2010/main" val="172267631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pag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A1A9C5EE-AD9B-C973-7EC3-E784E884F5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2171" y="2189877"/>
            <a:ext cx="6367270" cy="19236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ts val="7500"/>
              </a:lnSpc>
              <a:spcBef>
                <a:spcPct val="0"/>
              </a:spcBef>
              <a:buNone/>
              <a:defRPr lang="en-US" sz="6000" b="1" kern="1200" cap="none" spc="-300" baseline="0" dirty="0">
                <a:ln w="3175">
                  <a:noFill/>
                </a:ln>
                <a:solidFill>
                  <a:schemeClr val="tx2"/>
                </a:solidFill>
                <a:effectLst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962FB5EE-A7CB-45F1-0F33-06C38CDC6B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2171" y="4345640"/>
            <a:ext cx="5430837" cy="276999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2107370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4BA348-F68E-023A-1A5A-EFE139D96C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01044D7-CF4A-01E2-7256-0F8BBA942CC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138E9D-0CEB-6E09-4308-B03E91D3BE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41C675-5C63-4E7B-9B30-AF39B96618A2}" type="datetimeFigureOut">
              <a:rPr lang="en-US" smtClean="0"/>
              <a:t>8/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5B00B8-CC34-BD17-EC84-F0FD5DCE17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EFA591-F17F-014C-ED54-AFFADE3DB9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ADBC9-04FC-4DEC-A1D5-2867DC1E86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397727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2EC95A-1D76-C91D-2E10-08FC33C38C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09CBB7-DEB0-9E54-7D57-E7E20BE9F51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EAF4AF-733B-E620-DF1F-7D563F23E6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41C675-5C63-4E7B-9B30-AF39B96618A2}" type="datetimeFigureOut">
              <a:rPr lang="en-US" smtClean="0"/>
              <a:t>8/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BDC2F9-CF57-1E17-6B4E-89A207095D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182437-6DEB-21FC-E224-5C7614D56B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ADBC9-04FC-4DEC-A1D5-2867DC1E86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5510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2698D1-C774-6162-84E0-E571C7E80C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A0E9F2-81AD-906F-E758-A9BED751BA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CECB1F-3747-2EA4-B48B-E8380EF168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41C675-5C63-4E7B-9B30-AF39B96618A2}" type="datetimeFigureOut">
              <a:rPr lang="en-US" smtClean="0"/>
              <a:t>8/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53190A-B8E7-A169-FF90-2F1894BF8D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1BC4AC-941F-0B31-9B2D-C16863CD1E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ADBC9-04FC-4DEC-A1D5-2867DC1E86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327991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0671D9-8931-3E6F-D59D-537BDDED71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054D5C-6B47-EE63-4EF1-E1DA0C3E916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F5CE0EB-427F-2684-D2B9-3DAA234D49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7049273-D65E-625B-6C8B-3A633DF919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41C675-5C63-4E7B-9B30-AF39B96618A2}" type="datetimeFigureOut">
              <a:rPr lang="en-US" smtClean="0"/>
              <a:t>8/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83108F6-4D77-1C83-14EC-7C26E4FD62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082C2E0-C7CF-C962-7B41-2BD1EB5CC8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ADBC9-04FC-4DEC-A1D5-2867DC1E86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911610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954F7-CAEF-DAB1-34CE-05531F2ACA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8045677-5790-A0C8-C929-EAA2331ECB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A70FF2E-130F-07B7-39E6-D22CB13E66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AFD4B1-B118-19DA-9B93-550AB2FA15F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A38E748-B4A9-80F3-C426-A87E49D58CB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367DACD-28AF-7515-6E60-5DAA76CC12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41C675-5C63-4E7B-9B30-AF39B96618A2}" type="datetimeFigureOut">
              <a:rPr lang="en-US" smtClean="0"/>
              <a:t>8/6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86BCB4D-8D4F-6B4D-AB07-9FBDBD1327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F4D3BB3-0BEB-B93B-EBFB-24EF11EFCF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ADBC9-04FC-4DEC-A1D5-2867DC1E86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201904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A36839-D9A3-5483-1963-D3D943D8C1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E936F6-BE1B-465F-58A0-CE61DF55D3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41C675-5C63-4E7B-9B30-AF39B96618A2}" type="datetimeFigureOut">
              <a:rPr lang="en-US" smtClean="0"/>
              <a:t>8/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245ABB-2716-9BB6-F458-ECEDF57EE6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9649C2-F049-3F4C-7351-A494E21765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ADBC9-04FC-4DEC-A1D5-2867DC1E86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998010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474B410-4447-E38E-7378-1076EBBF2A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41C675-5C63-4E7B-9B30-AF39B96618A2}" type="datetimeFigureOut">
              <a:rPr lang="en-US" smtClean="0"/>
              <a:t>8/6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CAA681-A4E3-DC5B-4290-BD484614E2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B70038-5492-CD05-8CFA-CE3BAC5D1B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ADBC9-04FC-4DEC-A1D5-2867DC1E86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951696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1B5EBD-9601-41EC-9F83-6EC5797F82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98E4FD-BF3A-878A-8982-98511C1D8A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4BA11EE-F2BE-97C9-2ECC-1C29B4A058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F73026D-1F9D-7540-E587-ADAD96F6BB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41C675-5C63-4E7B-9B30-AF39B96618A2}" type="datetimeFigureOut">
              <a:rPr lang="en-US" smtClean="0"/>
              <a:t>8/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04097C8-3A8E-AF68-FF11-A4DDE2331D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2E21A97-462A-5503-654C-B805C4D24B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ADBC9-04FC-4DEC-A1D5-2867DC1E86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872066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9229CD-9150-94E7-0C6E-9712B8D826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6B2FD55-8152-1395-48D0-988638602B7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11F0AC9-9B65-5717-4379-444BFC91BB9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2ED1B86-35AE-30E5-1FBD-C1FED39165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41C675-5C63-4E7B-9B30-AF39B96618A2}" type="datetimeFigureOut">
              <a:rPr lang="en-US" smtClean="0"/>
              <a:t>8/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F5AF055-D47F-00EB-082C-16E88600FB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35729B0-7E6D-33B6-A411-B29CFEC88E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ADBC9-04FC-4DEC-A1D5-2867DC1E86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994348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2E0BCA-297D-F80F-7ECA-23160FC4C3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6AC8B39-0287-E6F6-7924-F5F3FF180E0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D928E0-4B0A-3A7A-2EA2-441FA62864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41C675-5C63-4E7B-9B30-AF39B96618A2}" type="datetimeFigureOut">
              <a:rPr lang="en-US" smtClean="0"/>
              <a:t>8/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E81F71-881B-7B08-FD75-C1019650B3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9B48C7-7F5E-61F9-E69F-982C1654A8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ADBC9-04FC-4DEC-A1D5-2867DC1E86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0675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pag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A1A9C5EE-AD9B-C973-7EC3-E784E884F5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2171" y="2189877"/>
            <a:ext cx="6367270" cy="19236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ts val="7500"/>
              </a:lnSpc>
              <a:spcBef>
                <a:spcPct val="0"/>
              </a:spcBef>
              <a:buNone/>
              <a:defRPr lang="en-US" sz="6000" b="1" kern="1200" cap="none" spc="-300" baseline="0" dirty="0">
                <a:ln w="3175">
                  <a:noFill/>
                </a:ln>
                <a:solidFill>
                  <a:schemeClr val="bg1"/>
                </a:solidFill>
                <a:effectLst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962FB5EE-A7CB-45F1-0F33-06C38CDC6B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2171" y="4345640"/>
            <a:ext cx="5430837" cy="276999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24521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B1C0C0B-6A4A-6E3D-ED5A-3D20D8A2675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E1B235F-2644-CFC4-371D-81AF15D7C75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FCE44D-D876-F49A-7961-464881B2D7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41C675-5C63-4E7B-9B30-AF39B96618A2}" type="datetimeFigureOut">
              <a:rPr lang="en-US" smtClean="0"/>
              <a:t>8/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821C06-7904-0418-59A6-9CB87FC7F1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8B5359-B64F-F24D-B2F6-19A2A2C3E7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ADBC9-04FC-4DEC-A1D5-2867DC1E86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985097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6971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7">
            <a:extLst>
              <a:ext uri="{FF2B5EF4-FFF2-40B4-BE49-F238E27FC236}">
                <a16:creationId xmlns:a16="http://schemas.microsoft.com/office/drawing/2014/main" id="{97D07DB7-7D51-724B-BE5C-77B45E5DB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10747374" cy="1139825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BG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097676-D6A1-2D4B-BDD3-E7E914641366}"/>
              </a:ext>
            </a:extLst>
          </p:cNvPr>
          <p:cNvSpPr txBox="1"/>
          <p:nvPr userDrawn="1"/>
        </p:nvSpPr>
        <p:spPr>
          <a:xfrm>
            <a:off x="722313" y="1780674"/>
            <a:ext cx="10747374" cy="44490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8C9353E-244A-3B4E-B54E-FCA42C0733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313" y="1863725"/>
            <a:ext cx="10747375" cy="4365625"/>
          </a:xfrm>
        </p:spPr>
        <p:txBody>
          <a:bodyPr/>
          <a:lstStyle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BG" dirty="0"/>
          </a:p>
        </p:txBody>
      </p:sp>
    </p:spTree>
    <p:extLst>
      <p:ext uri="{BB962C8B-B14F-4D97-AF65-F5344CB8AC3E}">
        <p14:creationId xmlns:p14="http://schemas.microsoft.com/office/powerpoint/2010/main" val="22896317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8726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348BA764-5690-C74C-98C8-5AD362BFC8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5278437" cy="1139825"/>
          </a:xfrm>
        </p:spPr>
        <p:txBody>
          <a:bodyPr tIns="108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BG"/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D214D3DB-DB34-F441-B966-C041056B089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98748" y="0"/>
            <a:ext cx="5993252" cy="6858000"/>
          </a:xfrm>
          <a:solidFill>
            <a:schemeClr val="bg2"/>
          </a:solidFill>
        </p:spPr>
        <p:txBody>
          <a:bodyPr vert="horz" lIns="91440" tIns="72000" rIns="91440" bIns="756000" rtlCol="0" anchor="ctr">
            <a:noAutofit/>
          </a:bodyPr>
          <a:lstStyle>
            <a:lvl1pPr marL="0" indent="0">
              <a:buNone/>
              <a:defRPr lang="en-US" sz="18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ctr"/>
            <a:r>
              <a:rPr lang="en-GB"/>
              <a:t>Click icon to add picture</a:t>
            </a:r>
            <a:endParaRPr lang="en-US"/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5B3F9C52-3A71-4524-8B14-37E73BA412E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798BE631-707E-324E-A381-F3D99D052E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2313" y="1808922"/>
            <a:ext cx="5278437" cy="442836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8CB971A-E2FD-954D-BF76-66E98685F3A4}"/>
              </a:ext>
            </a:extLst>
          </p:cNvPr>
          <p:cNvSpPr txBox="1"/>
          <p:nvPr userDrawn="1"/>
        </p:nvSpPr>
        <p:spPr>
          <a:xfrm>
            <a:off x="28331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4 </a:t>
            </a:r>
            <a:r>
              <a:rPr lang="en-US" sz="600" b="0" i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198551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5D5159-C5DF-6483-7FD5-07C42A746CC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4B987ED-FC30-9A51-5816-058CEEDC0E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A858534-DDF4-F6FE-6AC2-CE0D981549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794D9-588E-E24C-A605-993A8F6369F4}" type="datetimeFigureOut">
              <a:rPr lang="en-US" smtClean="0"/>
              <a:t>8/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C7DFA2-D068-49AF-CE3B-E7A9F6B770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338A14-4D29-1EAC-D84B-30B0A0B89B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79582B-5AF9-484D-AD3F-EF83423FB6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684164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7D9A1E-35D8-5FE6-4DBC-358AD6622C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02E078-2A21-D4F3-2415-874885C820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0AC2AD-5453-E068-9174-A249425BA4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794D9-588E-E24C-A605-993A8F6369F4}" type="datetimeFigureOut">
              <a:rPr lang="en-US" smtClean="0"/>
              <a:t>8/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9616F0-BCBD-BADD-D87C-E7AB5C6C2D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B9F684-4215-4086-D71B-34F5176F24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79582B-5AF9-484D-AD3F-EF83423FB6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279917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778363-BCE1-95A2-CD8E-47B52424C1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C977CE-FF49-4D55-2D1C-703220D93D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1A7D49-615B-E7A3-1202-B5A204A1F9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794D9-588E-E24C-A605-993A8F6369F4}" type="datetimeFigureOut">
              <a:rPr lang="en-US" smtClean="0"/>
              <a:t>8/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0028AD-D646-EED5-9996-2FFC409FD4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328ACA-4179-98EA-BEC4-1EFB62D129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79582B-5AF9-484D-AD3F-EF83423FB6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477312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C80EDE-D2A9-44C8-4A4C-6F32D794C2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8A0558-5745-B474-AFF2-31D99589157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E1565FB-16E6-9983-E551-1BCD7BF02D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F43E8A5-A746-67A7-319A-2F96104F61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794D9-588E-E24C-A605-993A8F6369F4}" type="datetimeFigureOut">
              <a:rPr lang="en-US" smtClean="0"/>
              <a:t>8/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685BB0-76DB-8A3D-CABE-E2A1E00A05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5E930D-DC5B-8BC1-CB48-E169F02A9D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79582B-5AF9-484D-AD3F-EF83423FB6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885125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126A89-A3C1-9269-BC94-1857B9EAD6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440917-2EF3-F442-45F6-98AF4ABFC6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294E5E1-6897-07A5-E378-40EC451F3CD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87DB094-D6C4-7215-51F9-49707AE6C0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D87F8CC-C87A-B71A-6E68-FC1765D95E9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C126BDF-CA8C-BAB3-0C72-A6F2EB3BE8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794D9-588E-E24C-A605-993A8F6369F4}" type="datetimeFigureOut">
              <a:rPr lang="en-US" smtClean="0"/>
              <a:t>8/6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AB80EDF-342E-806B-28BD-3B6E3E3254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4E52C95-92C1-278B-E0C2-884D7E3971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79582B-5AF9-484D-AD3F-EF83423FB6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725201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6C3F06-8E24-9129-5EFF-B24499D283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5B8ABDA-3C88-17E8-0ED6-51F2805499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794D9-588E-E24C-A605-993A8F6369F4}" type="datetimeFigureOut">
              <a:rPr lang="en-US" smtClean="0"/>
              <a:t>8/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1368B58-0B95-6F60-B199-8B83CCDF50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3B8C3B1-4D34-1D3C-BA34-680CE8021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79582B-5AF9-484D-AD3F-EF83423FB6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702072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C590A1-8D29-1BD0-260B-486FC8F790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794D9-588E-E24C-A605-993A8F6369F4}" type="datetimeFigureOut">
              <a:rPr lang="en-US" smtClean="0"/>
              <a:t>8/6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537872D-C03C-F5AD-07D6-57F4A94615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4F235C-CBF4-0BB2-EC37-E13B077E2C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79582B-5AF9-484D-AD3F-EF83423FB6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28795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1">
    <p:bg>
      <p:bgPr>
        <a:blipFill dpi="0" rotWithShape="1">
          <a:blip r:embed="rId2">
            <a:lum/>
          </a:blip>
          <a:srcRect/>
          <a:tile tx="-996950" ty="0" sx="60000" sy="6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A1A9C5EE-AD9B-C973-7EC3-E784E884F5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2171" y="2189877"/>
            <a:ext cx="6367270" cy="19236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ts val="7500"/>
              </a:lnSpc>
              <a:spcBef>
                <a:spcPct val="0"/>
              </a:spcBef>
              <a:buNone/>
              <a:defRPr lang="en-US" sz="6000" b="1" kern="1200" cap="none" spc="-300" baseline="0" dirty="0">
                <a:ln w="3175">
                  <a:noFill/>
                </a:ln>
                <a:gradFill flip="none" rotWithShape="1">
                  <a:gsLst>
                    <a:gs pos="58000">
                      <a:schemeClr val="accent1"/>
                    </a:gs>
                    <a:gs pos="100000">
                      <a:srgbClr val="D600AA"/>
                    </a:gs>
                  </a:gsLst>
                  <a:lin ang="3600000" scaled="0"/>
                  <a:tileRect/>
                </a:gradFill>
                <a:effectLst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962FB5EE-A7CB-45F1-0F33-06C38CDC6B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2171" y="4345640"/>
            <a:ext cx="5430837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5414398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EFED47-96CB-34F0-F05E-DC49C169A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0820D7-D2B2-FBA8-F73B-8F77A4EEF6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2A0D223-28B0-42AD-99EC-256218B3197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93AC3C9-A4C7-06B4-EA47-73822A7F64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794D9-588E-E24C-A605-993A8F6369F4}" type="datetimeFigureOut">
              <a:rPr lang="en-US" smtClean="0"/>
              <a:t>8/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873992-ADCC-DDEC-BAFB-512AC0EC4E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EC4A4F2-FDBE-5420-BE5D-DF3B31A22B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79582B-5AF9-484D-AD3F-EF83423FB6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236110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3E37B3-1E5B-7350-F05C-D4DB4727A6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BDFDC1F-7920-4973-B8AD-36F0004970A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A6E9F83-5C37-3FCC-F9EB-B48387FACF5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B05CE0-7D2E-48FA-C772-6522C4EC55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794D9-588E-E24C-A605-993A8F6369F4}" type="datetimeFigureOut">
              <a:rPr lang="en-US" smtClean="0"/>
              <a:t>8/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938140-2FD4-0B03-EE3F-45E07E3A54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D41E0FD-6235-2A2C-91C2-EFD002F8C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79582B-5AF9-484D-AD3F-EF83423FB6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652882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08E923-0312-361E-D921-507392EF3E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540FBCF-827A-674F-39DA-248231B9EAF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5BE319-CA47-7169-E742-E2E659F69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794D9-588E-E24C-A605-993A8F6369F4}" type="datetimeFigureOut">
              <a:rPr lang="en-US" smtClean="0"/>
              <a:t>8/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59938A-B42A-3E05-9B4B-88E4723AAE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11503A-3D22-DABE-FB2A-40AF4FCE8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79582B-5AF9-484D-AD3F-EF83423FB6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089522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CEC76B7-B855-B8A6-2A20-6A1BF5BC888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585C2D0-997F-6D78-5BBD-BF8CB8AD66E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12AF54-CE40-087F-28FF-198E724C32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794D9-588E-E24C-A605-993A8F6369F4}" type="datetimeFigureOut">
              <a:rPr lang="en-US" smtClean="0"/>
              <a:t>8/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94018A-FB13-9AF8-5F70-300D5467BE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5C8554-04F6-E0E0-5C5B-2CB92E2E22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79582B-5AF9-484D-AD3F-EF83423FB6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85254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pag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logo with purple and blue colors&#10;&#10;Description automatically generated">
            <a:extLst>
              <a:ext uri="{FF2B5EF4-FFF2-40B4-BE49-F238E27FC236}">
                <a16:creationId xmlns:a16="http://schemas.microsoft.com/office/drawing/2014/main" id="{D27D13AD-526A-90B5-459D-1E4E6AC0053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85" y="0"/>
            <a:ext cx="12192000" cy="6858000"/>
          </a:xfrm>
          <a:prstGeom prst="rect">
            <a:avLst/>
          </a:prstGeom>
        </p:spPr>
      </p:pic>
      <p:pic>
        <p:nvPicPr>
          <p:cNvPr id="3" name="Picture 2" descr="A black background with a black rectangle&#10;&#10;Description automatically generated">
            <a:extLst>
              <a:ext uri="{FF2B5EF4-FFF2-40B4-BE49-F238E27FC236}">
                <a16:creationId xmlns:a16="http://schemas.microsoft.com/office/drawing/2014/main" id="{7316EB86-1082-1532-3186-F1078C86353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17996" y="0"/>
            <a:ext cx="7173819" cy="6858000"/>
          </a:xfrm>
          <a:prstGeom prst="rect">
            <a:avLst/>
          </a:prstGeom>
        </p:spPr>
      </p:pic>
      <p:pic>
        <p:nvPicPr>
          <p:cNvPr id="2" name="Picture 1" descr="A black background with a black border&#10;&#10;Description automatically generated with medium confidence">
            <a:extLst>
              <a:ext uri="{FF2B5EF4-FFF2-40B4-BE49-F238E27FC236}">
                <a16:creationId xmlns:a16="http://schemas.microsoft.com/office/drawing/2014/main" id="{DCD7A8E1-BE78-4A44-8DAE-4814D573B8C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7915276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B5DCC040-BEFD-9634-43E9-9121BCAA3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0225" y="2921000"/>
            <a:ext cx="5607937" cy="627830"/>
          </a:xfrm>
        </p:spPr>
        <p:txBody>
          <a:bodyPr vert="horz" wrap="square" lIns="0" tIns="0" rIns="0" bIns="0" rtlCol="0" anchor="ctr" anchorCtr="0">
            <a:noAutofit/>
          </a:bodyPr>
          <a:lstStyle>
            <a:lvl1pPr algn="l" defTabSz="932742" rtl="0" eaLnBrk="1" latinLnBrk="0" hangingPunct="1">
              <a:lnSpc>
                <a:spcPts val="7500"/>
              </a:lnSpc>
              <a:spcBef>
                <a:spcPct val="0"/>
              </a:spcBef>
              <a:buNone/>
              <a:defRPr lang="en-US" sz="6000" b="1" kern="1200" cap="none" spc="0" baseline="0" dirty="0">
                <a:ln w="3175">
                  <a:noFill/>
                </a:ln>
                <a:gradFill flip="none" rotWithShape="1">
                  <a:gsLst>
                    <a:gs pos="100000">
                      <a:schemeClr val="accent2"/>
                    </a:gs>
                    <a:gs pos="22000">
                      <a:schemeClr val="accent1"/>
                    </a:gs>
                  </a:gsLst>
                  <a:lin ang="3600000" scaled="0"/>
                  <a:tileRect/>
                </a:gradFill>
                <a:effectLst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 algn="l" defTabSz="932742" rtl="0" eaLnBrk="1" latinLnBrk="0" hangingPunct="1">
              <a:lnSpc>
                <a:spcPts val="7500"/>
              </a:lnSpc>
              <a:spcBef>
                <a:spcPct val="0"/>
              </a:spcBef>
              <a:buNone/>
            </a:pPr>
            <a:r>
              <a:rPr lang="en-US"/>
              <a:t>00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4CC5BF35-9D1A-6EF1-55CB-2D658CA913B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2613" y="3713931"/>
            <a:ext cx="5430837" cy="492443"/>
          </a:xfrm>
        </p:spPr>
        <p:txBody>
          <a:bodyPr/>
          <a:lstStyle>
            <a:lvl1pPr>
              <a:defRPr sz="3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2480871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pag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ack background with a black border&#10;&#10;Description automatically generated with medium confidence">
            <a:extLst>
              <a:ext uri="{FF2B5EF4-FFF2-40B4-BE49-F238E27FC236}">
                <a16:creationId xmlns:a16="http://schemas.microsoft.com/office/drawing/2014/main" id="{DCD7A8E1-BE78-4A44-8DAE-4814D573B8C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7915276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B5DCC040-BEFD-9634-43E9-9121BCAA3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0225" y="2921000"/>
            <a:ext cx="5607937" cy="627830"/>
          </a:xfrm>
        </p:spPr>
        <p:txBody>
          <a:bodyPr vert="horz" wrap="square" lIns="0" tIns="0" rIns="0" bIns="0" rtlCol="0" anchor="ctr" anchorCtr="0">
            <a:noAutofit/>
          </a:bodyPr>
          <a:lstStyle>
            <a:lvl1pPr algn="l" defTabSz="932742" rtl="0" eaLnBrk="1" latinLnBrk="0" hangingPunct="1">
              <a:lnSpc>
                <a:spcPts val="7500"/>
              </a:lnSpc>
              <a:spcBef>
                <a:spcPct val="0"/>
              </a:spcBef>
              <a:buNone/>
              <a:defRPr lang="en-US" sz="6000" b="1" kern="1200" cap="none" spc="0" baseline="0" dirty="0">
                <a:ln w="3175">
                  <a:noFill/>
                </a:ln>
                <a:gradFill flip="none" rotWithShape="1">
                  <a:gsLst>
                    <a:gs pos="100000">
                      <a:schemeClr val="accent2"/>
                    </a:gs>
                    <a:gs pos="22000">
                      <a:schemeClr val="accent1"/>
                    </a:gs>
                  </a:gsLst>
                  <a:lin ang="3600000" scaled="0"/>
                  <a:tileRect/>
                </a:gradFill>
                <a:effectLst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 algn="l" defTabSz="932742" rtl="0" eaLnBrk="1" latinLnBrk="0" hangingPunct="1">
              <a:lnSpc>
                <a:spcPts val="7500"/>
              </a:lnSpc>
              <a:spcBef>
                <a:spcPct val="0"/>
              </a:spcBef>
              <a:buNone/>
            </a:pPr>
            <a:r>
              <a:rPr lang="en-US"/>
              <a:t>00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4CC5BF35-9D1A-6EF1-55CB-2D658CA913B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2613" y="3713931"/>
            <a:ext cx="5430837" cy="492443"/>
          </a:xfrm>
        </p:spPr>
        <p:txBody>
          <a:bodyPr/>
          <a:lstStyle>
            <a:lvl1pPr>
              <a:defRPr sz="3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1848027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pag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urple and pink balls&#10;&#10;Description automatically generated with medium confidence">
            <a:extLst>
              <a:ext uri="{FF2B5EF4-FFF2-40B4-BE49-F238E27FC236}">
                <a16:creationId xmlns:a16="http://schemas.microsoft.com/office/drawing/2014/main" id="{7EBFCEFD-4763-6100-3253-A140270CAFD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 descr="A black background with a black rectangle&#10;&#10;Description automatically generated">
            <a:extLst>
              <a:ext uri="{FF2B5EF4-FFF2-40B4-BE49-F238E27FC236}">
                <a16:creationId xmlns:a16="http://schemas.microsoft.com/office/drawing/2014/main" id="{7316EB86-1082-1532-3186-F1078C86353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17996" y="0"/>
            <a:ext cx="7173819" cy="6858000"/>
          </a:xfrm>
          <a:prstGeom prst="rect">
            <a:avLst/>
          </a:prstGeom>
        </p:spPr>
      </p:pic>
      <p:pic>
        <p:nvPicPr>
          <p:cNvPr id="2" name="Picture 1" descr="A black background with a black border&#10;&#10;Description automatically generated with medium confidence">
            <a:extLst>
              <a:ext uri="{FF2B5EF4-FFF2-40B4-BE49-F238E27FC236}">
                <a16:creationId xmlns:a16="http://schemas.microsoft.com/office/drawing/2014/main" id="{DCD7A8E1-BE78-4A44-8DAE-4814D573B8C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7915276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B5DCC040-BEFD-9634-43E9-9121BCAA3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0225" y="2921000"/>
            <a:ext cx="5607937" cy="627830"/>
          </a:xfrm>
        </p:spPr>
        <p:txBody>
          <a:bodyPr vert="horz" wrap="square" lIns="0" tIns="0" rIns="0" bIns="0" rtlCol="0" anchor="ctr" anchorCtr="0">
            <a:noAutofit/>
          </a:bodyPr>
          <a:lstStyle>
            <a:lvl1pPr algn="l" defTabSz="932742" rtl="0" eaLnBrk="1" latinLnBrk="0" hangingPunct="1">
              <a:lnSpc>
                <a:spcPts val="7500"/>
              </a:lnSpc>
              <a:spcBef>
                <a:spcPct val="0"/>
              </a:spcBef>
              <a:buNone/>
              <a:defRPr lang="en-US" sz="6000" b="1" kern="1200" cap="none" spc="0" baseline="0" dirty="0">
                <a:ln w="3175">
                  <a:noFill/>
                </a:ln>
                <a:gradFill flip="none" rotWithShape="1">
                  <a:gsLst>
                    <a:gs pos="100000">
                      <a:schemeClr val="accent2"/>
                    </a:gs>
                    <a:gs pos="22000">
                      <a:schemeClr val="accent1"/>
                    </a:gs>
                  </a:gsLst>
                  <a:lin ang="3600000" scaled="0"/>
                  <a:tileRect/>
                </a:gradFill>
                <a:effectLst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 algn="l" defTabSz="932742" rtl="0" eaLnBrk="1" latinLnBrk="0" hangingPunct="1">
              <a:lnSpc>
                <a:spcPts val="7500"/>
              </a:lnSpc>
              <a:spcBef>
                <a:spcPct val="0"/>
              </a:spcBef>
              <a:buNone/>
            </a:pPr>
            <a:r>
              <a:rPr lang="en-US"/>
              <a:t>00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4CC5BF35-9D1A-6EF1-55CB-2D658CA913B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2613" y="3713931"/>
            <a:ext cx="5430837" cy="492443"/>
          </a:xfrm>
        </p:spPr>
        <p:txBody>
          <a:bodyPr/>
          <a:lstStyle>
            <a:lvl1pPr>
              <a:defRPr sz="3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79359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ack and purple background&#10;&#10;Description automatically generated">
            <a:extLst>
              <a:ext uri="{FF2B5EF4-FFF2-40B4-BE49-F238E27FC236}">
                <a16:creationId xmlns:a16="http://schemas.microsoft.com/office/drawing/2014/main" id="{4A32E974-DC8B-EA22-6FD6-BB7F042E2B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-1" y="2031610"/>
            <a:ext cx="12191999" cy="482639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DF2D5AF-D3EE-9FE9-17CA-38F79C0991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0960" y="1724627"/>
            <a:ext cx="11050081" cy="615553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3E151E17-299D-0A92-45C9-BED3664323C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88750" y="4106047"/>
            <a:ext cx="2313432" cy="55399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tx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 sit amet elit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9E46301-3A68-CC3E-45CC-818C41F5832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9284" y="4106047"/>
            <a:ext cx="2313432" cy="55399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tx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24213C95-8A35-2CB3-F9F8-DBC451E9878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89820" y="4106047"/>
            <a:ext cx="2313432" cy="55399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tx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8BB362A-BDC6-A7E5-2494-31EC9725D6C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6948" y="3132820"/>
            <a:ext cx="1718105" cy="738664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4800" b="1">
                <a:gradFill>
                  <a:gsLst>
                    <a:gs pos="16000">
                      <a:schemeClr val="accent1"/>
                    </a:gs>
                    <a:gs pos="100000">
                      <a:schemeClr val="accent2"/>
                    </a:gs>
                  </a:gsLst>
                  <a:lin ang="2700000" scaled="1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5564948-DBA9-4296-2B21-C0328D679F7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86414" y="3132820"/>
            <a:ext cx="1718105" cy="738664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4800" b="1">
                <a:gradFill>
                  <a:gsLst>
                    <a:gs pos="16000">
                      <a:schemeClr val="accent1"/>
                    </a:gs>
                    <a:gs pos="100000">
                      <a:schemeClr val="accent2"/>
                    </a:gs>
                  </a:gsLst>
                  <a:lin ang="2700000" scaled="1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079751F-C88A-CB88-925B-DC19ABF4BC3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87484" y="3132820"/>
            <a:ext cx="1718105" cy="738664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4800" b="1">
                <a:gradFill>
                  <a:gsLst>
                    <a:gs pos="16000">
                      <a:schemeClr val="accent1"/>
                    </a:gs>
                    <a:gs pos="100000">
                      <a:schemeClr val="accent2"/>
                    </a:gs>
                  </a:gsLst>
                  <a:lin ang="2700000" scaled="1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</p:spTree>
    <p:extLst>
      <p:ext uri="{BB962C8B-B14F-4D97-AF65-F5344CB8AC3E}">
        <p14:creationId xmlns:p14="http://schemas.microsoft.com/office/powerpoint/2010/main" val="384673486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5296" y="2125629"/>
            <a:ext cx="5443720" cy="123110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75296" y="3597951"/>
            <a:ext cx="5443722" cy="116339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974DFFC-E26C-FF7F-92C1-388763AECEB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1" cstate="screen">
            <a:alphaModFix amt="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1337" y="512466"/>
            <a:ext cx="11069326" cy="5833068"/>
          </a:xfrm>
          <a:prstGeom prst="rect">
            <a:avLst/>
          </a:prstGeom>
          <a:noFill/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186896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62" r:id="rId1"/>
    <p:sldLayoutId id="2147485764" r:id="rId2"/>
    <p:sldLayoutId id="2147485763" r:id="rId3"/>
    <p:sldLayoutId id="2147485765" r:id="rId4"/>
    <p:sldLayoutId id="2147485741" r:id="rId5"/>
    <p:sldLayoutId id="2147485766" r:id="rId6"/>
    <p:sldLayoutId id="2147485768" r:id="rId7"/>
    <p:sldLayoutId id="2147485740" r:id="rId8"/>
    <p:sldLayoutId id="2147485594" r:id="rId9"/>
    <p:sldLayoutId id="2147485683" r:id="rId10"/>
    <p:sldLayoutId id="2147485756" r:id="rId11"/>
    <p:sldLayoutId id="2147485566" r:id="rId12"/>
    <p:sldLayoutId id="2147485729" r:id="rId13"/>
    <p:sldLayoutId id="2147485733" r:id="rId14"/>
    <p:sldLayoutId id="2147485706" r:id="rId15"/>
    <p:sldLayoutId id="2147485761" r:id="rId16"/>
    <p:sldLayoutId id="2147485754" r:id="rId17"/>
    <p:sldLayoutId id="2147485534" r:id="rId18"/>
    <p:sldLayoutId id="2147485718" r:id="rId19"/>
    <p:sldLayoutId id="2147485715" r:id="rId20"/>
    <p:sldLayoutId id="2147485545" r:id="rId21"/>
    <p:sldLayoutId id="2147485730" r:id="rId22"/>
    <p:sldLayoutId id="2147485661" r:id="rId23"/>
    <p:sldLayoutId id="2147485639" r:id="rId24"/>
    <p:sldLayoutId id="2147485600" r:id="rId25"/>
    <p:sldLayoutId id="2147485655" r:id="rId26"/>
    <p:sldLayoutId id="2147485760" r:id="rId27"/>
    <p:sldLayoutId id="2147485638" r:id="rId28"/>
    <p:sldLayoutId id="2147485767" r:id="rId29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4000" b="1" kern="1200" cap="none" spc="0" baseline="0" dirty="0" smtClean="0">
          <a:ln w="3175">
            <a:noFill/>
          </a:ln>
          <a:solidFill>
            <a:schemeClr val="tx1"/>
          </a:solidFill>
          <a:effectLst/>
          <a:latin typeface="Open Sans ExtraBold" panose="020B0606030504020204" pitchFamily="34" charset="0"/>
          <a:ea typeface="Open Sans ExtraBold" panose="020B0606030504020204" pitchFamily="34" charset="0"/>
          <a:cs typeface="Open Sans ExtraBold" panose="020B0606030504020204" pitchFamily="34" charset="0"/>
        </a:defRPr>
      </a:lvl1pPr>
    </p:titleStyle>
    <p:bodyStyle>
      <a:lvl1pPr marL="0" marR="0" indent="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accent2"/>
        </a:buClr>
        <a:buSzPct val="90000"/>
        <a:buFontTx/>
        <a:buNone/>
        <a:tabLst/>
        <a:defRPr sz="1800" b="1" kern="1200" spc="0" baseline="0">
          <a:solidFill>
            <a:schemeClr val="tx1"/>
          </a:solidFill>
          <a:latin typeface="Open Sans ExtraBold" panose="020B0606030504020204" pitchFamily="34" charset="0"/>
          <a:ea typeface="Open Sans ExtraBold" panose="020B0606030504020204" pitchFamily="34" charset="0"/>
          <a:cs typeface="Open Sans ExtraBold" panose="020B0606030504020204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accent5"/>
        </a:buClr>
        <a:buSzPct val="90000"/>
        <a:buFont typeface="Arial" panose="020B0604020202020204" pitchFamily="34" charset="0"/>
        <a:buChar char="•"/>
        <a:tabLst/>
        <a:defRPr sz="1200" b="0" kern="1200" spc="0" baseline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accent5"/>
        </a:buClr>
        <a:buSzPct val="90000"/>
        <a:buFont typeface="Arial" panose="020B0604020202020204" pitchFamily="34" charset="0"/>
        <a:buChar char="•"/>
        <a:tabLst/>
        <a:defRPr sz="1200" b="0" kern="1200" spc="0" baseline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accent5"/>
        </a:buClr>
        <a:buSzPct val="90000"/>
        <a:buFont typeface="Arial" panose="020B0604020202020204" pitchFamily="34" charset="0"/>
        <a:buChar char="•"/>
        <a:tabLst/>
        <a:defRPr sz="1200" b="0" kern="1200" spc="0" baseline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accent5"/>
        </a:buClr>
        <a:buSzPct val="90000"/>
        <a:buFont typeface="Arial" panose="020B0604020202020204" pitchFamily="34" charset="0"/>
        <a:buChar char="•"/>
        <a:tabLst/>
        <a:defRPr sz="1200" b="0" kern="1200" spc="0" baseline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0" userDrawn="1">
          <p15:clr>
            <a:srgbClr val="C35EA4"/>
          </p15:clr>
        </p15:guide>
        <p15:guide id="17" pos="7320" userDrawn="1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92" userDrawn="1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88" userDrawn="1">
          <p15:clr>
            <a:srgbClr val="A4A3A4"/>
          </p15:clr>
        </p15:guide>
        <p15:guide id="31" orient="horz" pos="400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78D9BD1-11B3-4563-76AC-9A606CE9B4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692ED55-453D-3BE5-9496-293CCFF927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50F6C6-F6B9-86C5-0D28-44B8FEB6719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D41C675-5C63-4E7B-9B30-AF39B96618A2}" type="datetimeFigureOut">
              <a:rPr lang="en-US" smtClean="0"/>
              <a:t>8/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658837-1414-4AB3-8019-BBA4FFEDD0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AAF85D-9A5A-70A1-574E-69C4B8534F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40ADBC9-04FC-4DEC-A1D5-2867DC1E86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69879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70" r:id="rId1"/>
    <p:sldLayoutId id="2147485771" r:id="rId2"/>
    <p:sldLayoutId id="2147485772" r:id="rId3"/>
    <p:sldLayoutId id="2147485773" r:id="rId4"/>
    <p:sldLayoutId id="2147485774" r:id="rId5"/>
    <p:sldLayoutId id="2147485775" r:id="rId6"/>
    <p:sldLayoutId id="2147485776" r:id="rId7"/>
    <p:sldLayoutId id="2147485777" r:id="rId8"/>
    <p:sldLayoutId id="2147485778" r:id="rId9"/>
    <p:sldLayoutId id="2147485779" r:id="rId10"/>
    <p:sldLayoutId id="2147485780" r:id="rId11"/>
    <p:sldLayoutId id="2147485781" r:id="rId12"/>
    <p:sldLayoutId id="2147485782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1E0C4EF-5369-4D57-5FE6-CB7692E7A6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71D012-CB10-2B92-8A7A-79678EBFFA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B5E288-D17D-EFCB-8F0C-741E585ED20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C794D9-588E-E24C-A605-993A8F6369F4}" type="datetimeFigureOut">
              <a:rPr lang="en-US" smtClean="0"/>
              <a:t>8/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A238E2-8821-92DB-3A7D-DD3D461F95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4AEDAE-26FF-A28B-9870-505F65F12E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79582B-5AF9-484D-AD3F-EF83423FB6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70879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84" r:id="rId1"/>
    <p:sldLayoutId id="2147485785" r:id="rId2"/>
    <p:sldLayoutId id="2147485786" r:id="rId3"/>
    <p:sldLayoutId id="2147485787" r:id="rId4"/>
    <p:sldLayoutId id="2147485788" r:id="rId5"/>
    <p:sldLayoutId id="2147485789" r:id="rId6"/>
    <p:sldLayoutId id="2147485790" r:id="rId7"/>
    <p:sldLayoutId id="2147485791" r:id="rId8"/>
    <p:sldLayoutId id="2147485792" r:id="rId9"/>
    <p:sldLayoutId id="2147485793" r:id="rId10"/>
    <p:sldLayoutId id="214748579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demos.telerik.com/blazor-ui/blazorlab/grid-smart-ai-search" TargetMode="External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42.xml"/><Relationship Id="rId4" Type="http://schemas.openxmlformats.org/officeDocument/2006/relationships/hyperlink" Target="https://demos.telerik.com/blazor-ui/blazorlab/combobox-smart-ai-search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4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danroth27/BlazorChatApp" TargetMode="External"/><Relationship Id="rId3" Type="http://schemas.openxmlformats.org/officeDocument/2006/relationships/image" Target="../media/image14.png"/><Relationship Id="rId7" Type="http://schemas.openxmlformats.org/officeDocument/2006/relationships/hyperlink" Target="https://github.com/dotnet/eShopSupport" TargetMode="External"/><Relationship Id="rId12" Type="http://schemas.openxmlformats.org/officeDocument/2006/relationships/hyperlink" Target="https://blazor.net/" TargetMode="Externa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8.xml"/><Relationship Id="rId6" Type="http://schemas.openxmlformats.org/officeDocument/2006/relationships/hyperlink" Target="https://github.com/dotnet/ai-samples" TargetMode="External"/><Relationship Id="rId11" Type="http://schemas.openxmlformats.org/officeDocument/2006/relationships/hyperlink" Target="https://syncfusion.com/blazor" TargetMode="External"/><Relationship Id="rId5" Type="http://schemas.openxmlformats.org/officeDocument/2006/relationships/hyperlink" Target="https://aka.ms/dotnet/smart-components" TargetMode="External"/><Relationship Id="rId10" Type="http://schemas.openxmlformats.org/officeDocument/2006/relationships/hyperlink" Target="https://devexpress.com/blazor" TargetMode="External"/><Relationship Id="rId4" Type="http://schemas.openxmlformats.org/officeDocument/2006/relationships/image" Target="../media/image16.png"/><Relationship Id="rId9" Type="http://schemas.openxmlformats.org/officeDocument/2006/relationships/hyperlink" Target="https://telerik.com/blazor-ui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3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7" Type="http://schemas.openxmlformats.org/officeDocument/2006/relationships/image" Target="../media/image44.sv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43.png"/><Relationship Id="rId5" Type="http://schemas.openxmlformats.org/officeDocument/2006/relationships/image" Target="../media/image42.svg"/><Relationship Id="rId4" Type="http://schemas.openxmlformats.org/officeDocument/2006/relationships/image" Target="../media/image4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gi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4831E9-806D-56D7-4095-C39452C4BA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170" y="2187146"/>
            <a:ext cx="8858392" cy="1842107"/>
          </a:xfrm>
        </p:spPr>
        <p:txBody>
          <a:bodyPr/>
          <a:lstStyle/>
          <a:p>
            <a:r>
              <a:rPr lang="en-US" sz="4800" dirty="0"/>
              <a:t>Build interactive AI-powered web apps with Blazor &amp; .NE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93B17C-A5F3-7112-7EEE-37D4CBA80A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2171" y="4345640"/>
            <a:ext cx="5430837" cy="1274195"/>
          </a:xfrm>
        </p:spPr>
        <p:txBody>
          <a:bodyPr/>
          <a:lstStyle/>
          <a:p>
            <a:r>
              <a:rPr lang="en-US" dirty="0"/>
              <a:t>Daniel Roth</a:t>
            </a:r>
          </a:p>
          <a:p>
            <a:r>
              <a:rPr lang="en-US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duct Manager</a:t>
            </a:r>
          </a:p>
          <a:p>
            <a:r>
              <a:rPr lang="en-US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icrosoft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4734550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E67072-CE5F-1AA7-8DE2-C98A7E024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5278437" cy="1410953"/>
          </a:xfrm>
        </p:spPr>
        <p:txBody>
          <a:bodyPr/>
          <a:lstStyle/>
          <a:p>
            <a:r>
              <a:rPr lang="en-US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Metric"/>
              </a:rPr>
              <a:t>Experimental Smart (AI) Components </a:t>
            </a:r>
            <a:r>
              <a:rPr lang="en-US" b="0" i="0" dirty="0">
                <a:solidFill>
                  <a:srgbClr val="383F55"/>
                </a:solidFill>
                <a:effectLst/>
                <a:highlight>
                  <a:srgbClr val="FFFFFF"/>
                </a:highlight>
                <a:latin typeface="Metric"/>
              </a:rPr>
              <a:t>🧪</a:t>
            </a:r>
            <a:endParaRPr lang="en-US" dirty="0">
              <a:solidFill>
                <a:schemeClr val="accent1"/>
              </a:solidFill>
            </a:endParaRP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C107142-068A-59FA-91A5-9C9534CFC9E9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/>
          <a:srcRect l="88" t="-12531" r="29558" b="-15371"/>
          <a:stretch/>
        </p:blipFill>
        <p:spPr>
          <a:xfrm>
            <a:off x="6198748" y="0"/>
            <a:ext cx="5993252" cy="6858000"/>
          </a:xfr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EEF782F-C416-CE87-3E41-1CD3991EF28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2313" y="1949117"/>
            <a:ext cx="5381640" cy="4288172"/>
          </a:xfrm>
        </p:spPr>
        <p:txBody>
          <a:bodyPr/>
          <a:lstStyle/>
          <a:p>
            <a:r>
              <a:rPr lang="en-US" b="1" i="0" dirty="0">
                <a:solidFill>
                  <a:schemeClr val="accent1"/>
                </a:solidFill>
                <a:effectLst/>
                <a:highlight>
                  <a:srgbClr val="FFFFFF"/>
                </a:highlight>
                <a:latin typeface="Metric"/>
              </a:rPr>
              <a:t>Telerik UI for Blazor &amp; ASP.NET Core</a:t>
            </a:r>
            <a:endParaRPr lang="en-US" b="1" i="0" dirty="0">
              <a:solidFill>
                <a:srgbClr val="383F55"/>
              </a:solidFill>
              <a:effectLst/>
              <a:highlight>
                <a:srgbClr val="FFFFFF"/>
              </a:highlight>
              <a:latin typeface="Metric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383F55"/>
                </a:solidFill>
                <a:effectLst/>
                <a:highlight>
                  <a:srgbClr val="FFFFFF"/>
                </a:highlight>
                <a:latin typeface="Metric"/>
              </a:rPr>
              <a:t>AI integration: </a:t>
            </a:r>
          </a:p>
          <a:p>
            <a:pPr marL="790575" lvl="1" indent="-342900"/>
            <a:r>
              <a:rPr lang="en-US" u="sng" dirty="0">
                <a:solidFill>
                  <a:srgbClr val="3D57D8"/>
                </a:solidFill>
                <a:highlight>
                  <a:srgbClr val="FFFFFF"/>
                </a:highlight>
                <a:latin typeface="Metric"/>
                <a:hlinkClick r:id="rId3"/>
              </a:rPr>
              <a:t>Contextual </a:t>
            </a:r>
            <a:r>
              <a:rPr lang="en-US" b="0" i="0" u="sng" dirty="0">
                <a:solidFill>
                  <a:srgbClr val="3D57D8"/>
                </a:solidFill>
                <a:effectLst/>
                <a:highlight>
                  <a:srgbClr val="FFFFFF"/>
                </a:highlight>
                <a:latin typeface="Metric"/>
                <a:hlinkClick r:id="rId3"/>
              </a:rPr>
              <a:t>Grid Smart (AI) Search</a:t>
            </a:r>
            <a:endParaRPr lang="en-US" b="0" i="0" u="sng" dirty="0">
              <a:solidFill>
                <a:srgbClr val="3D57D8"/>
              </a:solidFill>
              <a:effectLst/>
              <a:highlight>
                <a:srgbClr val="FFFFFF"/>
              </a:highlight>
              <a:latin typeface="Metric"/>
            </a:endParaRPr>
          </a:p>
          <a:p>
            <a:pPr marL="790575" lvl="1" indent="-342900"/>
            <a:r>
              <a:rPr lang="en-US" b="0" i="0" u="sng" dirty="0">
                <a:solidFill>
                  <a:srgbClr val="3D57D8"/>
                </a:solidFill>
                <a:effectLst/>
                <a:highlight>
                  <a:srgbClr val="FFFFFF"/>
                </a:highlight>
                <a:latin typeface="Metric"/>
                <a:hlinkClick r:id="rId4"/>
              </a:rPr>
              <a:t>Contextual </a:t>
            </a:r>
            <a:r>
              <a:rPr lang="en-US" b="0" i="0" u="sng" dirty="0" err="1">
                <a:solidFill>
                  <a:srgbClr val="3D57D8"/>
                </a:solidFill>
                <a:effectLst/>
                <a:highlight>
                  <a:srgbClr val="FFFFFF"/>
                </a:highlight>
                <a:latin typeface="Metric"/>
                <a:hlinkClick r:id="rId4"/>
              </a:rPr>
              <a:t>ComboBox</a:t>
            </a:r>
            <a:r>
              <a:rPr lang="en-US" b="0" i="0" u="sng" dirty="0">
                <a:solidFill>
                  <a:srgbClr val="3D57D8"/>
                </a:solidFill>
                <a:effectLst/>
                <a:highlight>
                  <a:srgbClr val="FFFFFF"/>
                </a:highlight>
                <a:latin typeface="Metric"/>
                <a:hlinkClick r:id="rId4"/>
              </a:rPr>
              <a:t> Smart (AI) Search</a:t>
            </a:r>
            <a:r>
              <a:rPr lang="en-US" b="0" i="0" dirty="0">
                <a:solidFill>
                  <a:srgbClr val="383F55"/>
                </a:solidFill>
                <a:effectLst/>
                <a:highlight>
                  <a:srgbClr val="FFFFFF"/>
                </a:highlight>
                <a:latin typeface="Metric"/>
              </a:rPr>
              <a:t> </a:t>
            </a:r>
          </a:p>
          <a:p>
            <a:pPr marL="790575" lvl="1" indent="-342900"/>
            <a:r>
              <a:rPr lang="en-US" u="sng" dirty="0" err="1">
                <a:solidFill>
                  <a:srgbClr val="3D57D8"/>
                </a:solidFill>
                <a:highlight>
                  <a:srgbClr val="FFFFFF"/>
                </a:highlight>
                <a:latin typeface="Metric"/>
              </a:rPr>
              <a:t>PDFViewer</a:t>
            </a:r>
            <a:r>
              <a:rPr lang="en-US" u="sng" dirty="0">
                <a:solidFill>
                  <a:srgbClr val="3D57D8"/>
                </a:solidFill>
                <a:highlight>
                  <a:srgbClr val="FFFFFF"/>
                </a:highlight>
                <a:latin typeface="Metric"/>
              </a:rPr>
              <a:t> with Smart (AI) Assisted Search Integration</a:t>
            </a:r>
            <a:r>
              <a:rPr lang="en-US" b="0" i="0" u="sng" dirty="0">
                <a:solidFill>
                  <a:srgbClr val="3D57D8"/>
                </a:solidFill>
                <a:effectLst/>
                <a:highlight>
                  <a:srgbClr val="FFFFFF"/>
                </a:highlight>
                <a:latin typeface="Metric"/>
              </a:rPr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77492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">
            <a:extLst>
              <a:ext uri="{FF2B5EF4-FFF2-40B4-BE49-F238E27FC236}">
                <a16:creationId xmlns:a16="http://schemas.microsoft.com/office/drawing/2014/main" id="{A31D2638-B371-CC23-F1C7-7EF705CDB9FB}"/>
              </a:ext>
            </a:extLst>
          </p:cNvPr>
          <p:cNvSpPr/>
          <p:nvPr/>
        </p:nvSpPr>
        <p:spPr>
          <a:xfrm>
            <a:off x="1490" y="6791556"/>
            <a:ext cx="12201939" cy="82068"/>
          </a:xfrm>
          <a:prstGeom prst="rect">
            <a:avLst/>
          </a:prstGeom>
          <a:solidFill>
            <a:srgbClr val="FF7100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marL="0" marR="0" lvl="0" indent="0" algn="ctr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sym typeface="Helvetica Neue Medium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4BCBFB1-7781-04DB-3553-C8AC5C3DEED6}"/>
              </a:ext>
            </a:extLst>
          </p:cNvPr>
          <p:cNvSpPr txBox="1">
            <a:spLocks/>
          </p:cNvSpPr>
          <p:nvPr/>
        </p:nvSpPr>
        <p:spPr>
          <a:xfrm>
            <a:off x="551484" y="379024"/>
            <a:ext cx="11089032" cy="56275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Calibri" panose="020F0502020204030204" pitchFamily="34" charset="0"/>
                <a:cs typeface="Arial"/>
              </a:rPr>
              <a:t>DevExpress AI-Powered Enhancements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02-Logo.png" descr="02-Logo.png">
            <a:extLst>
              <a:ext uri="{FF2B5EF4-FFF2-40B4-BE49-F238E27FC236}">
                <a16:creationId xmlns:a16="http://schemas.microsoft.com/office/drawing/2014/main" id="{969F0004-71A4-5B30-9C2C-803C8C94F5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98000" y="5842000"/>
            <a:ext cx="2178050" cy="35560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EAACD66-316C-8875-410E-18B7D2FCE3C7}"/>
              </a:ext>
            </a:extLst>
          </p:cNvPr>
          <p:cNvSpPr txBox="1"/>
          <p:nvPr/>
        </p:nvSpPr>
        <p:spPr>
          <a:xfrm>
            <a:off x="606287" y="1646426"/>
            <a:ext cx="11200903" cy="3970318"/>
          </a:xfrm>
          <a:prstGeom prst="rect">
            <a:avLst/>
          </a:prstGeom>
          <a:noFill/>
        </p:spPr>
        <p:txBody>
          <a:bodyPr wrap="square" lIns="91440" tIns="45720" rIns="91440" bIns="45720" numCol="2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7100"/>
                </a:solidFill>
                <a:effectLst/>
                <a:uLnTx/>
                <a:uFillTx/>
                <a:latin typeface=".SF NS"/>
                <a:ea typeface="+mn-ea"/>
                <a:cs typeface="+mn-cs"/>
              </a:rPr>
              <a:t>Integrated APIs for Straightforward Azure AI Integratio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7100"/>
              </a:solidFill>
              <a:effectLst/>
              <a:uLnTx/>
              <a:uFillTx/>
              <a:latin typeface=".SF 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E0E0E"/>
                </a:solidFill>
                <a:effectLst/>
                <a:uLnTx/>
                <a:uFillTx/>
                <a:latin typeface=".SF NS"/>
                <a:ea typeface="+mn-ea"/>
                <a:cs typeface="+mn-cs"/>
              </a:rPr>
              <a:t>Seamless connectivity between Azure AI services and DevExpress UI component libraries.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7100"/>
                </a:solidFill>
                <a:effectLst/>
                <a:uLnTx/>
                <a:uFillTx/>
                <a:latin typeface=".SF NS"/>
                <a:ea typeface="+mn-ea"/>
                <a:cs typeface="+mn-cs"/>
              </a:rPr>
              <a:t>NLP-Powered Text Editor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7100"/>
              </a:solidFill>
              <a:effectLst/>
              <a:uLnTx/>
              <a:uFillTx/>
              <a:latin typeface=".SF 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E0E0E"/>
                </a:solidFill>
                <a:effectLst/>
                <a:uLnTx/>
                <a:uFillTx/>
                <a:latin typeface=".SF NS"/>
                <a:ea typeface="+mn-ea"/>
                <a:cs typeface="+mn-cs"/>
              </a:rPr>
              <a:t>Leverage AI-driven smart text processing when using the DevExpress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E0E0E"/>
                </a:solidFill>
                <a:effectLst/>
                <a:uLnTx/>
                <a:uFillTx/>
                <a:latin typeface=".SF NS"/>
                <a:ea typeface="+mn-ea"/>
                <a:cs typeface="+mn-cs"/>
              </a:rPr>
              <a:t>MemoEdi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E0E0E"/>
                </a:solidFill>
                <a:effectLst/>
                <a:uLnTx/>
                <a:uFillTx/>
                <a:latin typeface=".SF NS"/>
                <a:ea typeface="+mn-ea"/>
                <a:cs typeface="+mn-cs"/>
              </a:rPr>
              <a:t>,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E0E0E"/>
                </a:solidFill>
                <a:effectLst/>
                <a:uLnTx/>
                <a:uFillTx/>
                <a:latin typeface=".SF NS"/>
                <a:ea typeface="+mn-ea"/>
                <a:cs typeface="+mn-cs"/>
              </a:rPr>
              <a:t>RichEdi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E0E0E"/>
                </a:solidFill>
                <a:effectLst/>
                <a:uLnTx/>
                <a:uFillTx/>
                <a:latin typeface=".SF NS"/>
                <a:ea typeface="+mn-ea"/>
                <a:cs typeface="+mn-cs"/>
              </a:rPr>
              <a:t>, and HTML Editors.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7100"/>
                </a:solidFill>
                <a:effectLst/>
                <a:uLnTx/>
                <a:uFillTx/>
                <a:latin typeface=".SF NS"/>
                <a:ea typeface="+mn-ea"/>
                <a:cs typeface="+mn-cs"/>
              </a:rPr>
              <a:t>AI-Centric Chat UI Component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7100"/>
              </a:solidFill>
              <a:effectLst/>
              <a:uLnTx/>
              <a:uFillTx/>
              <a:latin typeface=".SF 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E0E0E"/>
                </a:solidFill>
                <a:effectLst/>
                <a:uLnTx/>
                <a:uFillTx/>
                <a:latin typeface=".SF NS"/>
                <a:ea typeface="+mn-ea"/>
                <a:cs typeface="+mn-cs"/>
              </a:rPr>
              <a:t>New JavaScript and Blazor chat components designed for AI interactions in </a:t>
            </a:r>
            <a:r>
              <a:rPr lang="en-US" sz="1800" dirty="0">
                <a:solidFill>
                  <a:srgbClr val="0E0E0E"/>
                </a:solidFill>
                <a:latin typeface=".SF NS"/>
              </a:rPr>
              <a:t>Web,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E0E0E"/>
                </a:solidFill>
                <a:effectLst/>
                <a:uLnTx/>
                <a:uFillTx/>
                <a:latin typeface=".SF NS"/>
                <a:ea typeface="+mn-ea"/>
                <a:cs typeface="+mn-cs"/>
              </a:rPr>
              <a:t>WinForms, and WPF apps.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7100"/>
                </a:solidFill>
                <a:effectLst/>
                <a:uLnTx/>
                <a:uFillTx/>
                <a:latin typeface=".SF NS"/>
                <a:ea typeface="+mn-ea"/>
                <a:cs typeface="+mn-cs"/>
              </a:rPr>
              <a:t>“Chat with Your Own Data”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7100"/>
              </a:solidFill>
              <a:effectLst/>
              <a:uLnTx/>
              <a:uFillTx/>
              <a:latin typeface=".SF 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E0E0E"/>
                </a:solidFill>
                <a:effectLst/>
                <a:uLnTx/>
                <a:uFillTx/>
                <a:latin typeface=".SF NS"/>
                <a:ea typeface="+mn-ea"/>
                <a:cs typeface="+mn-cs"/>
              </a:rPr>
              <a:t>Incorporate Azure OpenAI Chat Assistants and Retrieval-Augmented Generation (RAG) for custom data interactions when using DevExpress Data Grids, Reports, and more. 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7100"/>
                </a:solidFill>
                <a:effectLst/>
                <a:uLnTx/>
                <a:uFillTx/>
                <a:latin typeface=".SF NS"/>
                <a:ea typeface="+mn-ea"/>
                <a:cs typeface="+mn-cs"/>
              </a:rPr>
              <a:t>Offline AI Model Support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7100"/>
              </a:solidFill>
              <a:effectLst/>
              <a:uLnTx/>
              <a:uFillTx/>
              <a:latin typeface=".SF 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E0E0E"/>
                </a:solidFill>
                <a:effectLst/>
                <a:uLnTx/>
                <a:uFillTx/>
                <a:latin typeface=".SF NS"/>
                <a:ea typeface="+mn-ea"/>
                <a:cs typeface="+mn-cs"/>
              </a:rPr>
              <a:t>Utilize ONNX Runtime and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E0E0E"/>
                </a:solidFill>
                <a:effectLst/>
                <a:uLnTx/>
                <a:uFillTx/>
                <a:latin typeface=".SF NS"/>
                <a:ea typeface="+mn-ea"/>
                <a:cs typeface="+mn-cs"/>
              </a:rPr>
              <a:t>Ollam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E0E0E"/>
                </a:solidFill>
                <a:effectLst/>
                <a:uLnTx/>
                <a:uFillTx/>
                <a:latin typeface=".SF NS"/>
                <a:ea typeface="+mn-ea"/>
                <a:cs typeface="+mn-cs"/>
              </a:rPr>
              <a:t> for running AI models without an internet connection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8D8CA91-1665-2E19-4BF5-E7B83B1EAE48}"/>
              </a:ext>
            </a:extLst>
          </p:cNvPr>
          <p:cNvSpPr txBox="1"/>
          <p:nvPr/>
        </p:nvSpPr>
        <p:spPr>
          <a:xfrm>
            <a:off x="606287" y="949274"/>
            <a:ext cx="2795958" cy="400110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hipping December 2024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5F7F4954-BEEB-AAEE-B691-C86AEC122EFB}"/>
              </a:ext>
            </a:extLst>
          </p:cNvPr>
          <p:cNvSpPr/>
          <p:nvPr/>
        </p:nvSpPr>
        <p:spPr>
          <a:xfrm>
            <a:off x="1061762" y="5671377"/>
            <a:ext cx="4680965" cy="689144"/>
          </a:xfrm>
          <a:prstGeom prst="roundRect">
            <a:avLst>
              <a:gd name="adj" fmla="val 50000"/>
            </a:avLst>
          </a:prstGeom>
          <a:solidFill>
            <a:srgbClr val="FF71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.SF NS"/>
              </a:rPr>
              <a:t>devexpress.com/go/AI.aspx</a:t>
            </a:r>
          </a:p>
        </p:txBody>
      </p:sp>
    </p:spTree>
    <p:extLst>
      <p:ext uri="{BB962C8B-B14F-4D97-AF65-F5344CB8AC3E}">
        <p14:creationId xmlns:p14="http://schemas.microsoft.com/office/powerpoint/2010/main" val="36938968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ext Box 1" descr="Title 1">
            <a:extLst>
              <a:ext uri="{FF2B5EF4-FFF2-40B4-BE49-F238E27FC236}">
                <a16:creationId xmlns:a16="http://schemas.microsoft.com/office/drawing/2014/main" id="{07D61B68-3BDE-40DB-9681-818C6C2DB5D6}"/>
              </a:ext>
            </a:extLst>
          </p:cNvPr>
          <p:cNvSpPr txBox="1">
            <a:spLocks/>
          </p:cNvSpPr>
          <p:nvPr/>
        </p:nvSpPr>
        <p:spPr bwMode="auto">
          <a:xfrm>
            <a:off x="1484975" y="624576"/>
            <a:ext cx="9214111" cy="5493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45720" rIns="45720" anchor="b">
            <a:spAutoFit/>
          </a:bodyPr>
          <a:lstStyle>
            <a:lvl1pPr defTabSz="858838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 defTabSz="858838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 defTabSz="858838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 defTabSz="858838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 defTabSz="858838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defTabSz="8588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defTabSz="8588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defTabSz="8588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defTabSz="8588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algn="ctr" eaLnBrk="1">
              <a:lnSpc>
                <a:spcPct val="90000"/>
              </a:lnSpc>
            </a:pPr>
            <a:r>
              <a:rPr lang="en-US" altLang="en-US" sz="3300" b="1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SYNCFUSION Essential Studio 2024 Volume 3</a:t>
            </a:r>
          </a:p>
        </p:txBody>
      </p:sp>
      <p:sp>
        <p:nvSpPr>
          <p:cNvPr id="11268" name="Rectangle 3" descr="Rectangle 11">
            <a:extLst>
              <a:ext uri="{FF2B5EF4-FFF2-40B4-BE49-F238E27FC236}">
                <a16:creationId xmlns:a16="http://schemas.microsoft.com/office/drawing/2014/main" id="{7AAA2F64-CC57-4C87-908E-05D713BE5AC1}"/>
              </a:ext>
            </a:extLst>
          </p:cNvPr>
          <p:cNvSpPr>
            <a:spLocks/>
          </p:cNvSpPr>
          <p:nvPr/>
        </p:nvSpPr>
        <p:spPr bwMode="auto">
          <a:xfrm>
            <a:off x="-3175" y="6022975"/>
            <a:ext cx="12190413" cy="835025"/>
          </a:xfrm>
          <a:prstGeom prst="rect">
            <a:avLst/>
          </a:prstGeom>
          <a:solidFill>
            <a:srgbClr val="0021CB"/>
          </a:solidFill>
          <a:ln w="12700">
            <a:solidFill>
              <a:srgbClr val="42719B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45720" rIns="45720" anchor="ctr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algn="ctr" eaLnBrk="1"/>
            <a:endParaRPr lang="en-US" altLang="en-US">
              <a:solidFill>
                <a:srgbClr val="505487"/>
              </a:solidFill>
            </a:endParaRPr>
          </a:p>
        </p:txBody>
      </p:sp>
      <p:pic>
        <p:nvPicPr>
          <p:cNvPr id="11269" name="Picture 4" descr="Picture 12">
            <a:extLst>
              <a:ext uri="{FF2B5EF4-FFF2-40B4-BE49-F238E27FC236}">
                <a16:creationId xmlns:a16="http://schemas.microsoft.com/office/drawing/2014/main" id="{8EB0F6B5-1DE8-4E52-9A37-5FAF738599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34625" y="6261100"/>
            <a:ext cx="1598613" cy="355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1270" name="Text Box 5" descr="Rectangle 15">
            <a:extLst>
              <a:ext uri="{FF2B5EF4-FFF2-40B4-BE49-F238E27FC236}">
                <a16:creationId xmlns:a16="http://schemas.microsoft.com/office/drawing/2014/main" id="{CBDF1990-B9C5-4A77-BEE2-073C3BD4617C}"/>
              </a:ext>
            </a:extLst>
          </p:cNvPr>
          <p:cNvSpPr txBox="1">
            <a:spLocks/>
          </p:cNvSpPr>
          <p:nvPr/>
        </p:nvSpPr>
        <p:spPr bwMode="auto">
          <a:xfrm>
            <a:off x="187325" y="6421438"/>
            <a:ext cx="34783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45720" rIns="45720">
            <a:spAutoFit/>
          </a:bodyPr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/>
            <a:r>
              <a:rPr lang="en-US" altLang="en-US" sz="1200" dirty="0">
                <a:solidFill>
                  <a:srgbClr val="9DC3E6"/>
                </a:solidFill>
              </a:rPr>
              <a:t>Copyright © 2024 Syncfusion, Inc.   All rights reserved.</a:t>
            </a:r>
          </a:p>
        </p:txBody>
      </p:sp>
      <p:sp>
        <p:nvSpPr>
          <p:cNvPr id="11278" name="Text Box 13">
            <a:extLst>
              <a:ext uri="{FF2B5EF4-FFF2-40B4-BE49-F238E27FC236}">
                <a16:creationId xmlns:a16="http://schemas.microsoft.com/office/drawing/2014/main" id="{BAD3E090-35FD-4BC2-8E34-6B5670C690A3}"/>
              </a:ext>
            </a:extLst>
          </p:cNvPr>
          <p:cNvSpPr txBox="1">
            <a:spLocks/>
          </p:cNvSpPr>
          <p:nvPr/>
        </p:nvSpPr>
        <p:spPr bwMode="auto">
          <a:xfrm>
            <a:off x="1195898" y="1572420"/>
            <a:ext cx="4164859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45720" rIns="45720" anchor="ctr">
            <a:spAutoFit/>
          </a:bodyPr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algn="ctr" eaLnBrk="1"/>
            <a:r>
              <a:rPr lang="en-US" altLang="en-US" sz="2600" b="1" dirty="0">
                <a:solidFill>
                  <a:srgbClr val="0021CB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New AI Assist component</a:t>
            </a:r>
          </a:p>
        </p:txBody>
      </p:sp>
      <p:sp>
        <p:nvSpPr>
          <p:cNvPr id="2" name="Text Box 10">
            <a:extLst>
              <a:ext uri="{FF2B5EF4-FFF2-40B4-BE49-F238E27FC236}">
                <a16:creationId xmlns:a16="http://schemas.microsoft.com/office/drawing/2014/main" id="{4A5388CA-B778-122C-A82E-9C8733D00E18}"/>
              </a:ext>
            </a:extLst>
          </p:cNvPr>
          <p:cNvSpPr txBox="1">
            <a:spLocks/>
          </p:cNvSpPr>
          <p:nvPr/>
        </p:nvSpPr>
        <p:spPr bwMode="auto">
          <a:xfrm>
            <a:off x="1195898" y="2356982"/>
            <a:ext cx="6513095" cy="21567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45720" rIns="45720">
            <a:spAutoFit/>
          </a:bodyPr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Latha" panose="020B0502040204020203" pitchFamily="34" charset="0"/>
              </a:rPr>
              <a:t>Built-in support for predefined toolbar items, including copy, edit, and like/unlike options for prompts and responses.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Latha" panose="020B0502040204020203" pitchFamily="34" charset="0"/>
              </a:rPr>
              <a:t>Support for prompt suggestions with customization options.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Latha" panose="020B0502040204020203" pitchFamily="34" charset="0"/>
              </a:rPr>
              <a:t>Ability to execute custom commands through toolbar options.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Latha" panose="020B0502040204020203" pitchFamily="34" charset="0"/>
              </a:rPr>
              <a:t>Templating support for prompts, responses, and more.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Latha" panose="020B0502040204020203" pitchFamily="34" charset="0"/>
              </a:rPr>
              <a:t>Extensive customization options for creating personalized views in addition to the built-in assist view.</a:t>
            </a:r>
          </a:p>
        </p:txBody>
      </p:sp>
      <p:pic>
        <p:nvPicPr>
          <p:cNvPr id="3" name="Picture 2" descr="A screenshot of a chat&#10;&#10;Description automatically generated">
            <a:extLst>
              <a:ext uri="{FF2B5EF4-FFF2-40B4-BE49-F238E27FC236}">
                <a16:creationId xmlns:a16="http://schemas.microsoft.com/office/drawing/2014/main" id="{4B0A9A58-C961-AF63-AB29-B52345264C2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9690" y="1695341"/>
            <a:ext cx="2783450" cy="380625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1EBC05F-BB62-406B-4A8B-968407ABD00E}"/>
              </a:ext>
            </a:extLst>
          </p:cNvPr>
          <p:cNvSpPr txBox="1"/>
          <p:nvPr/>
        </p:nvSpPr>
        <p:spPr>
          <a:xfrm>
            <a:off x="5077631" y="1087807"/>
            <a:ext cx="202879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kern="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Latha" panose="020B0502040204020203" pitchFamily="34" charset="0"/>
              </a:rPr>
              <a:t>September 2024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5CB0067-8A48-64C1-C658-D944A63A3E32}"/>
              </a:ext>
            </a:extLst>
          </p:cNvPr>
          <p:cNvSpPr/>
          <p:nvPr/>
        </p:nvSpPr>
        <p:spPr>
          <a:xfrm>
            <a:off x="1595756" y="4824786"/>
            <a:ext cx="5713378" cy="460794"/>
          </a:xfrm>
          <a:prstGeom prst="rect">
            <a:avLst/>
          </a:prstGeom>
          <a:solidFill>
            <a:srgbClr val="FF952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Aptos" panose="020B0004020202020204" pitchFamily="34" charset="0"/>
              </a:rPr>
              <a:t>syncfusion.com/products/roadmap/blazor-components</a:t>
            </a:r>
          </a:p>
        </p:txBody>
      </p:sp>
    </p:spTree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AC4617BB-D253-7894-69A1-E87C3C4BF60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5487" y="3445625"/>
            <a:ext cx="6840109" cy="3429000"/>
          </a:xfrm>
          <a:prstGeom prst="rect">
            <a:avLst/>
          </a:prstGeom>
        </p:spPr>
      </p:pic>
      <p:pic>
        <p:nvPicPr>
          <p:cNvPr id="20" name="Picture 19" descr="A black circle with a dark background&#10;&#10;Description automatically generated with medium confidence">
            <a:extLst>
              <a:ext uri="{FF2B5EF4-FFF2-40B4-BE49-F238E27FC236}">
                <a16:creationId xmlns:a16="http://schemas.microsoft.com/office/drawing/2014/main" id="{6A631204-F85C-DC10-7271-E2302C24E4C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43564" y="0"/>
            <a:ext cx="4448436" cy="3840658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97A6F0AC-1942-2802-9A44-3C012B931FB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 flipV="1">
            <a:off x="8787986" y="366"/>
            <a:ext cx="3420035" cy="6857268"/>
          </a:xfrm>
          <a:prstGeom prst="rect">
            <a:avLst/>
          </a:prstGeom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3997B8A8-953A-4F35-AAA3-6D4D2C25DFE7}"/>
              </a:ext>
            </a:extLst>
          </p:cNvPr>
          <p:cNvSpPr txBox="1">
            <a:spLocks/>
          </p:cNvSpPr>
          <p:nvPr/>
        </p:nvSpPr>
        <p:spPr>
          <a:xfrm>
            <a:off x="570677" y="422028"/>
            <a:ext cx="3032494" cy="615553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000" b="1" kern="1200" cap="none" spc="0" baseline="0">
                <a:ln w="3175">
                  <a:noFill/>
                </a:ln>
                <a:solidFill>
                  <a:schemeClr val="tx1"/>
                </a:solidFill>
                <a:effectLst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r>
              <a:rPr lang="en-US"/>
              <a:t>Resources</a:t>
            </a:r>
          </a:p>
        </p:txBody>
      </p:sp>
      <p:sp>
        <p:nvSpPr>
          <p:cNvPr id="23" name="Rounded Rectangle 1">
            <a:extLst>
              <a:ext uri="{FF2B5EF4-FFF2-40B4-BE49-F238E27FC236}">
                <a16:creationId xmlns:a16="http://schemas.microsoft.com/office/drawing/2014/main" id="{21EAF275-B7F8-1132-EE3E-1E79E10A16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3047588" y="1770885"/>
            <a:ext cx="4202453" cy="1033273"/>
          </a:xfrm>
          <a:prstGeom prst="roundRect">
            <a:avLst>
              <a:gd name="adj" fmla="val 10106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20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254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anose="020B0502040204020203" pitchFamily="34" charset="0"/>
            </a:endParaRP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32CB18B8-1628-D5E1-D017-17970F00DFB9}"/>
              </a:ext>
            </a:extLst>
          </p:cNvPr>
          <p:cNvSpPr txBox="1">
            <a:spLocks/>
          </p:cNvSpPr>
          <p:nvPr/>
        </p:nvSpPr>
        <p:spPr>
          <a:xfrm>
            <a:off x="3319895" y="2059888"/>
            <a:ext cx="3657839" cy="153888"/>
          </a:xfrm>
          <a:prstGeom prst="rect">
            <a:avLst/>
          </a:prstGeom>
        </p:spPr>
        <p:txBody>
          <a:bodyPr anchor="ctr"/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000" b="1" kern="1200" spc="0" baseline="0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hlinkClick r:id="rId5"/>
              </a:rPr>
              <a:t>aka.ms/dotnet/smart-components</a:t>
            </a:r>
            <a:endParaRPr lang="en-US" dirty="0"/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F38C0EF5-DBC5-2DF8-4AB1-1D5FB01E396C}"/>
              </a:ext>
            </a:extLst>
          </p:cNvPr>
          <p:cNvSpPr txBox="1">
            <a:spLocks/>
          </p:cNvSpPr>
          <p:nvPr/>
        </p:nvSpPr>
        <p:spPr>
          <a:xfrm>
            <a:off x="3319895" y="2372347"/>
            <a:ext cx="3657839" cy="153888"/>
          </a:xfrm>
          <a:prstGeom prst="rect">
            <a:avLst/>
          </a:prstGeom>
        </p:spPr>
        <p:txBody>
          <a:bodyPr anchor="ctr"/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0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.NET Smart Components</a:t>
            </a:r>
          </a:p>
        </p:txBody>
      </p:sp>
      <p:sp>
        <p:nvSpPr>
          <p:cNvPr id="26" name="Rounded Rectangle 11">
            <a:extLst>
              <a:ext uri="{FF2B5EF4-FFF2-40B4-BE49-F238E27FC236}">
                <a16:creationId xmlns:a16="http://schemas.microsoft.com/office/drawing/2014/main" id="{41BA3BDB-4241-E211-E3BB-11796A6546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3047588" y="2944913"/>
            <a:ext cx="4202453" cy="1033273"/>
          </a:xfrm>
          <a:prstGeom prst="roundRect">
            <a:avLst>
              <a:gd name="adj" fmla="val 10106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20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254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6B9734A4-CF2E-5B2A-11A5-7237ADB7E875}"/>
              </a:ext>
            </a:extLst>
          </p:cNvPr>
          <p:cNvSpPr txBox="1">
            <a:spLocks/>
          </p:cNvSpPr>
          <p:nvPr/>
        </p:nvSpPr>
        <p:spPr>
          <a:xfrm>
            <a:off x="3319895" y="3233916"/>
            <a:ext cx="3657839" cy="153888"/>
          </a:xfrm>
          <a:prstGeom prst="rect">
            <a:avLst/>
          </a:prstGeom>
        </p:spPr>
        <p:txBody>
          <a:bodyPr anchor="ctr"/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000" b="1" kern="1200" spc="0" baseline="0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hlinkClick r:id="rId6"/>
              </a:rPr>
              <a:t>github.com/dotnet/ai-samples</a:t>
            </a:r>
            <a:endParaRPr lang="en-US" dirty="0"/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C8F0E37A-6641-8C8B-8AA0-7A4653EA56A3}"/>
              </a:ext>
            </a:extLst>
          </p:cNvPr>
          <p:cNvSpPr txBox="1">
            <a:spLocks/>
          </p:cNvSpPr>
          <p:nvPr/>
        </p:nvSpPr>
        <p:spPr>
          <a:xfrm>
            <a:off x="3319895" y="3546375"/>
            <a:ext cx="3657839" cy="153888"/>
          </a:xfrm>
          <a:prstGeom prst="rect">
            <a:avLst/>
          </a:prstGeom>
        </p:spPr>
        <p:txBody>
          <a:bodyPr anchor="ctr"/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0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.NET AI samples</a:t>
            </a:r>
          </a:p>
        </p:txBody>
      </p:sp>
      <p:sp>
        <p:nvSpPr>
          <p:cNvPr id="29" name="Rounded Rectangle 14">
            <a:extLst>
              <a:ext uri="{FF2B5EF4-FFF2-40B4-BE49-F238E27FC236}">
                <a16:creationId xmlns:a16="http://schemas.microsoft.com/office/drawing/2014/main" id="{F124D5A3-A1D6-C2E0-C6E6-15110FB8E6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3047588" y="4118941"/>
            <a:ext cx="4202453" cy="1033273"/>
          </a:xfrm>
          <a:prstGeom prst="roundRect">
            <a:avLst>
              <a:gd name="adj" fmla="val 10106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20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254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B7F382D6-396E-2691-B743-D8094008219D}"/>
              </a:ext>
            </a:extLst>
          </p:cNvPr>
          <p:cNvSpPr txBox="1">
            <a:spLocks/>
          </p:cNvSpPr>
          <p:nvPr/>
        </p:nvSpPr>
        <p:spPr>
          <a:xfrm>
            <a:off x="3319895" y="4407944"/>
            <a:ext cx="3657839" cy="153888"/>
          </a:xfrm>
          <a:prstGeom prst="rect">
            <a:avLst/>
          </a:prstGeom>
        </p:spPr>
        <p:txBody>
          <a:bodyPr anchor="ctr"/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000" b="1" kern="1200" spc="0" baseline="0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hlinkClick r:id="rId7"/>
              </a:rPr>
              <a:t>github.com/dotnet/</a:t>
            </a:r>
            <a:r>
              <a:rPr lang="en-US" dirty="0" err="1">
                <a:hlinkClick r:id="rId7"/>
              </a:rPr>
              <a:t>eShopSupport</a:t>
            </a:r>
            <a:endParaRPr lang="en-US" dirty="0"/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2A79268E-1984-0C60-AA8F-BDB9C60BB270}"/>
              </a:ext>
            </a:extLst>
          </p:cNvPr>
          <p:cNvSpPr txBox="1">
            <a:spLocks/>
          </p:cNvSpPr>
          <p:nvPr/>
        </p:nvSpPr>
        <p:spPr>
          <a:xfrm>
            <a:off x="3319895" y="4720403"/>
            <a:ext cx="3657839" cy="153888"/>
          </a:xfrm>
          <a:prstGeom prst="rect">
            <a:avLst/>
          </a:prstGeom>
        </p:spPr>
        <p:txBody>
          <a:bodyPr anchor="ctr"/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0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/>
              <a:t>eShop</a:t>
            </a:r>
            <a:r>
              <a:rPr lang="en-US" dirty="0"/>
              <a:t> Support sample</a:t>
            </a:r>
          </a:p>
        </p:txBody>
      </p:sp>
      <p:sp>
        <p:nvSpPr>
          <p:cNvPr id="32" name="Rounded Rectangle 19">
            <a:extLst>
              <a:ext uri="{FF2B5EF4-FFF2-40B4-BE49-F238E27FC236}">
                <a16:creationId xmlns:a16="http://schemas.microsoft.com/office/drawing/2014/main" id="{13CBC385-BF11-38FA-DCC6-691B88AA12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3047588" y="5296577"/>
            <a:ext cx="4202453" cy="1033273"/>
          </a:xfrm>
          <a:prstGeom prst="roundRect">
            <a:avLst>
              <a:gd name="adj" fmla="val 10106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20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254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C26AA673-2369-A3BC-1A7E-0DA2CFFD14EB}"/>
              </a:ext>
            </a:extLst>
          </p:cNvPr>
          <p:cNvSpPr txBox="1">
            <a:spLocks/>
          </p:cNvSpPr>
          <p:nvPr/>
        </p:nvSpPr>
        <p:spPr>
          <a:xfrm>
            <a:off x="3319895" y="5585580"/>
            <a:ext cx="3657839" cy="153888"/>
          </a:xfrm>
          <a:prstGeom prst="rect">
            <a:avLst/>
          </a:prstGeom>
        </p:spPr>
        <p:txBody>
          <a:bodyPr anchor="ctr"/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000" b="1" kern="1200" spc="0" baseline="0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hlinkClick r:id="rId8"/>
              </a:rPr>
              <a:t>github.com/danroth27/</a:t>
            </a:r>
            <a:r>
              <a:rPr lang="en-US" dirty="0" err="1">
                <a:hlinkClick r:id="rId8"/>
              </a:rPr>
              <a:t>BlazorChatApp</a:t>
            </a:r>
            <a:endParaRPr lang="en-US" dirty="0"/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913B87F2-96EA-4653-FE83-25FE1A4D1609}"/>
              </a:ext>
            </a:extLst>
          </p:cNvPr>
          <p:cNvSpPr txBox="1">
            <a:spLocks/>
          </p:cNvSpPr>
          <p:nvPr/>
        </p:nvSpPr>
        <p:spPr>
          <a:xfrm>
            <a:off x="3319895" y="5898039"/>
            <a:ext cx="3657839" cy="153888"/>
          </a:xfrm>
          <a:prstGeom prst="rect">
            <a:avLst/>
          </a:prstGeom>
        </p:spPr>
        <p:txBody>
          <a:bodyPr anchor="ctr"/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0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Blazor chat app sample</a:t>
            </a:r>
          </a:p>
        </p:txBody>
      </p:sp>
      <p:sp>
        <p:nvSpPr>
          <p:cNvPr id="35" name="Rounded Rectangle 22">
            <a:extLst>
              <a:ext uri="{FF2B5EF4-FFF2-40B4-BE49-F238E27FC236}">
                <a16:creationId xmlns:a16="http://schemas.microsoft.com/office/drawing/2014/main" id="{7DB4CD66-34BF-E040-E9E6-48A5C42C3B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7397751" y="1770885"/>
            <a:ext cx="4202453" cy="1033273"/>
          </a:xfrm>
          <a:prstGeom prst="roundRect">
            <a:avLst>
              <a:gd name="adj" fmla="val 10106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20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254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E44ABECF-DD3E-B841-4418-13AF8AAB5F32}"/>
              </a:ext>
            </a:extLst>
          </p:cNvPr>
          <p:cNvSpPr txBox="1">
            <a:spLocks/>
          </p:cNvSpPr>
          <p:nvPr/>
        </p:nvSpPr>
        <p:spPr>
          <a:xfrm>
            <a:off x="7670058" y="2059888"/>
            <a:ext cx="3657839" cy="153888"/>
          </a:xfrm>
          <a:prstGeom prst="rect">
            <a:avLst/>
          </a:prstGeom>
        </p:spPr>
        <p:txBody>
          <a:bodyPr anchor="ctr"/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000" b="1" kern="1200" spc="0" baseline="0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hlinkClick r:id="rId9"/>
              </a:rPr>
              <a:t>telerik.com/</a:t>
            </a:r>
            <a:r>
              <a:rPr lang="en-US" dirty="0" err="1">
                <a:hlinkClick r:id="rId9"/>
              </a:rPr>
              <a:t>blazor-ui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5D5DAD16-EA7A-C923-E869-BC720BFB6328}"/>
              </a:ext>
            </a:extLst>
          </p:cNvPr>
          <p:cNvSpPr txBox="1">
            <a:spLocks/>
          </p:cNvSpPr>
          <p:nvPr/>
        </p:nvSpPr>
        <p:spPr>
          <a:xfrm>
            <a:off x="7670058" y="2372347"/>
            <a:ext cx="3657839" cy="153888"/>
          </a:xfrm>
          <a:prstGeom prst="rect">
            <a:avLst/>
          </a:prstGeom>
        </p:spPr>
        <p:txBody>
          <a:bodyPr anchor="ctr"/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0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Progress Telerik Blazor components</a:t>
            </a:r>
          </a:p>
        </p:txBody>
      </p:sp>
      <p:sp>
        <p:nvSpPr>
          <p:cNvPr id="38" name="Rounded Rectangle 25">
            <a:extLst>
              <a:ext uri="{FF2B5EF4-FFF2-40B4-BE49-F238E27FC236}">
                <a16:creationId xmlns:a16="http://schemas.microsoft.com/office/drawing/2014/main" id="{1913EC21-744C-62E5-D911-20CDC4FCE3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7397751" y="2944913"/>
            <a:ext cx="4202453" cy="1033273"/>
          </a:xfrm>
          <a:prstGeom prst="roundRect">
            <a:avLst>
              <a:gd name="adj" fmla="val 10106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20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254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31CA6A5E-5401-8549-CAE5-3C6C2E0700E3}"/>
              </a:ext>
            </a:extLst>
          </p:cNvPr>
          <p:cNvSpPr txBox="1">
            <a:spLocks/>
          </p:cNvSpPr>
          <p:nvPr/>
        </p:nvSpPr>
        <p:spPr>
          <a:xfrm>
            <a:off x="7670058" y="3233916"/>
            <a:ext cx="3657839" cy="153888"/>
          </a:xfrm>
          <a:prstGeom prst="rect">
            <a:avLst/>
          </a:prstGeom>
        </p:spPr>
        <p:txBody>
          <a:bodyPr anchor="ctr"/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000" b="1" kern="1200" spc="0" baseline="0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hlinkClick r:id="rId10"/>
              </a:rPr>
              <a:t>devexpress.com/</a:t>
            </a:r>
            <a:r>
              <a:rPr lang="en-US" dirty="0" err="1">
                <a:hlinkClick r:id="rId10"/>
              </a:rPr>
              <a:t>blazor</a:t>
            </a:r>
            <a:endParaRPr lang="en-US" dirty="0"/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A5ACBA8D-9BBD-B861-2CE3-DCF264EAE508}"/>
              </a:ext>
            </a:extLst>
          </p:cNvPr>
          <p:cNvSpPr txBox="1">
            <a:spLocks/>
          </p:cNvSpPr>
          <p:nvPr/>
        </p:nvSpPr>
        <p:spPr>
          <a:xfrm>
            <a:off x="7670058" y="3546375"/>
            <a:ext cx="3657839" cy="153888"/>
          </a:xfrm>
          <a:prstGeom prst="rect">
            <a:avLst/>
          </a:prstGeom>
        </p:spPr>
        <p:txBody>
          <a:bodyPr anchor="ctr"/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0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evExpress Blazor components</a:t>
            </a:r>
          </a:p>
        </p:txBody>
      </p:sp>
      <p:sp>
        <p:nvSpPr>
          <p:cNvPr id="41" name="Rounded Rectangle 28">
            <a:extLst>
              <a:ext uri="{FF2B5EF4-FFF2-40B4-BE49-F238E27FC236}">
                <a16:creationId xmlns:a16="http://schemas.microsoft.com/office/drawing/2014/main" id="{A9C7E064-DA85-D7E3-F67D-A89FFE6ABB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7397751" y="4118941"/>
            <a:ext cx="4202453" cy="1033273"/>
          </a:xfrm>
          <a:prstGeom prst="roundRect">
            <a:avLst>
              <a:gd name="adj" fmla="val 10106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20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254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4BB78CEB-16A9-B644-CCD0-D296DE288A92}"/>
              </a:ext>
            </a:extLst>
          </p:cNvPr>
          <p:cNvSpPr txBox="1">
            <a:spLocks/>
          </p:cNvSpPr>
          <p:nvPr/>
        </p:nvSpPr>
        <p:spPr>
          <a:xfrm>
            <a:off x="7670058" y="4407944"/>
            <a:ext cx="3657839" cy="153888"/>
          </a:xfrm>
          <a:prstGeom prst="rect">
            <a:avLst/>
          </a:prstGeom>
        </p:spPr>
        <p:txBody>
          <a:bodyPr anchor="ctr"/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000" b="1" kern="1200" spc="0" baseline="0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hlinkClick r:id="rId11"/>
              </a:rPr>
              <a:t>syncfusion.com/</a:t>
            </a:r>
            <a:r>
              <a:rPr lang="en-US" dirty="0" err="1">
                <a:hlinkClick r:id="rId11"/>
              </a:rPr>
              <a:t>blazor</a:t>
            </a:r>
            <a:endParaRPr lang="en-US" dirty="0"/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9982F11C-BD37-5A3A-E65D-8B7E2B948D1B}"/>
              </a:ext>
            </a:extLst>
          </p:cNvPr>
          <p:cNvSpPr txBox="1">
            <a:spLocks/>
          </p:cNvSpPr>
          <p:nvPr/>
        </p:nvSpPr>
        <p:spPr>
          <a:xfrm>
            <a:off x="7670058" y="4720403"/>
            <a:ext cx="3657839" cy="153888"/>
          </a:xfrm>
          <a:prstGeom prst="rect">
            <a:avLst/>
          </a:prstGeom>
        </p:spPr>
        <p:txBody>
          <a:bodyPr anchor="ctr"/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0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/>
              <a:t>Syncfusion</a:t>
            </a:r>
            <a:r>
              <a:rPr lang="en-US" dirty="0"/>
              <a:t> Blazor components</a:t>
            </a:r>
          </a:p>
        </p:txBody>
      </p:sp>
      <p:sp>
        <p:nvSpPr>
          <p:cNvPr id="44" name="Rounded Rectangle 31">
            <a:extLst>
              <a:ext uri="{FF2B5EF4-FFF2-40B4-BE49-F238E27FC236}">
                <a16:creationId xmlns:a16="http://schemas.microsoft.com/office/drawing/2014/main" id="{2023B085-5250-786B-B2C8-93A2BF6D63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7397751" y="5296577"/>
            <a:ext cx="4202453" cy="1033273"/>
          </a:xfrm>
          <a:prstGeom prst="roundRect">
            <a:avLst>
              <a:gd name="adj" fmla="val 10106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20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254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89DDFC77-2375-EC9C-EBA7-0C2B5507930F}"/>
              </a:ext>
            </a:extLst>
          </p:cNvPr>
          <p:cNvSpPr txBox="1">
            <a:spLocks/>
          </p:cNvSpPr>
          <p:nvPr/>
        </p:nvSpPr>
        <p:spPr>
          <a:xfrm>
            <a:off x="7670058" y="5585580"/>
            <a:ext cx="3657839" cy="153888"/>
          </a:xfrm>
          <a:prstGeom prst="rect">
            <a:avLst/>
          </a:prstGeom>
        </p:spPr>
        <p:txBody>
          <a:bodyPr anchor="ctr"/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000" b="1" kern="1200" spc="0" baseline="0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hlinkClick r:id="rId12"/>
              </a:rPr>
              <a:t>blazor.net</a:t>
            </a:r>
            <a:endParaRPr lang="en-US" dirty="0"/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E8F9251C-56DA-48FA-87E5-69DA62D772B4}"/>
              </a:ext>
            </a:extLst>
          </p:cNvPr>
          <p:cNvSpPr txBox="1">
            <a:spLocks/>
          </p:cNvSpPr>
          <p:nvPr/>
        </p:nvSpPr>
        <p:spPr>
          <a:xfrm>
            <a:off x="7670058" y="5898039"/>
            <a:ext cx="3657839" cy="153888"/>
          </a:xfrm>
          <a:prstGeom prst="rect">
            <a:avLst/>
          </a:prstGeom>
        </p:spPr>
        <p:txBody>
          <a:bodyPr anchor="ctr"/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0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Blazor home page</a:t>
            </a:r>
          </a:p>
        </p:txBody>
      </p:sp>
    </p:spTree>
    <p:extLst>
      <p:ext uri="{BB962C8B-B14F-4D97-AF65-F5344CB8AC3E}">
        <p14:creationId xmlns:p14="http://schemas.microsoft.com/office/powerpoint/2010/main" val="3678233000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1764E9-8617-2A9F-7DBC-BA5AFEBAE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171" y="1784173"/>
            <a:ext cx="6367270" cy="1923604"/>
          </a:xfrm>
        </p:spPr>
        <p:txBody>
          <a:bodyPr/>
          <a:lstStyle/>
          <a:p>
            <a:r>
              <a:rPr lang="en-US">
                <a:gradFill flip="none">
                  <a:gsLst>
                    <a:gs pos="58000">
                      <a:srgbClr val="4F2BD3"/>
                    </a:gs>
                    <a:gs pos="100000">
                      <a:srgbClr val="D600AA"/>
                    </a:gs>
                  </a:gsLst>
                  <a:lin ang="3600000" scaled="0"/>
                  <a:tileRect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NET Conf:</a:t>
            </a:r>
            <a:br>
              <a:rPr lang="en-US">
                <a:gradFill flip="none">
                  <a:gsLst>
                    <a:gs pos="58000">
                      <a:srgbClr val="4F2BD3"/>
                    </a:gs>
                    <a:gs pos="100000">
                      <a:srgbClr val="D600AA"/>
                    </a:gs>
                  </a:gsLst>
                  <a:lin ang="3600000" scaled="0"/>
                  <a:tileRect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>
                <a:gradFill flip="none">
                  <a:gsLst>
                    <a:gs pos="58000">
                      <a:srgbClr val="4F2BD3"/>
                    </a:gs>
                    <a:gs pos="100000">
                      <a:srgbClr val="D600AA"/>
                    </a:gs>
                  </a:gsLst>
                  <a:lin ang="3600000" scaled="0"/>
                  <a:tileRect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ocus on AI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5F81B2-4CC3-877C-505A-61751A18A52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2171" y="4091364"/>
            <a:ext cx="5430837" cy="276999"/>
          </a:xfrm>
        </p:spPr>
        <p:txBody>
          <a:bodyPr/>
          <a:lstStyle/>
          <a:p>
            <a:r>
              <a:rPr lang="en-US" sz="4000">
                <a:solidFill>
                  <a:schemeClr val="accent2"/>
                </a:solidFill>
              </a:rPr>
              <a:t>Learn mor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81E6222-C4A7-C738-EB70-34311359489A}"/>
              </a:ext>
            </a:extLst>
          </p:cNvPr>
          <p:cNvSpPr txBox="1">
            <a:spLocks/>
          </p:cNvSpPr>
          <p:nvPr/>
        </p:nvSpPr>
        <p:spPr>
          <a:xfrm>
            <a:off x="582171" y="4842260"/>
            <a:ext cx="5923732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800" b="1" kern="1200" spc="0" baseline="0">
                <a:solidFill>
                  <a:schemeClr val="tx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aka.ms/</a:t>
            </a:r>
            <a:r>
              <a:rPr lang="en-US" dirty="0" err="1"/>
              <a:t>dotnetFocusAI</a:t>
            </a:r>
            <a:r>
              <a:rPr lang="en-US" dirty="0"/>
              <a:t>/Collecti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5ECE9AA-B94C-A00B-C686-7E85F5D8E4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75283" y="2167760"/>
            <a:ext cx="2522481" cy="2522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910882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B137EE3-3EAE-326D-F0A4-9EF698028AD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2613" y="2848730"/>
            <a:ext cx="3613209" cy="615553"/>
          </a:xfrm>
        </p:spPr>
        <p:txBody>
          <a:bodyPr/>
          <a:lstStyle/>
          <a:p>
            <a:pPr algn="ctr"/>
            <a:r>
              <a:rPr lang="en-US" sz="4000"/>
              <a:t>Agenda</a:t>
            </a:r>
            <a:endParaRPr lang="en-US"/>
          </a:p>
        </p:txBody>
      </p:sp>
      <p:sp>
        <p:nvSpPr>
          <p:cNvPr id="68" name="Text Placeholder 3">
            <a:extLst>
              <a:ext uri="{FF2B5EF4-FFF2-40B4-BE49-F238E27FC236}">
                <a16:creationId xmlns:a16="http://schemas.microsoft.com/office/drawing/2014/main" id="{A563364C-C5A7-3315-64DB-A34BA6F81CCE}"/>
              </a:ext>
            </a:extLst>
          </p:cNvPr>
          <p:cNvSpPr txBox="1">
            <a:spLocks/>
          </p:cNvSpPr>
          <p:nvPr/>
        </p:nvSpPr>
        <p:spPr>
          <a:xfrm>
            <a:off x="5183133" y="1529568"/>
            <a:ext cx="3695682" cy="86177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400" b="1" kern="1200" spc="0" baseline="0">
                <a:gradFill>
                  <a:gsLst>
                    <a:gs pos="100000">
                      <a:schemeClr val="accent2"/>
                    </a:gs>
                    <a:gs pos="47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tx1"/>
                </a:solidFill>
              </a:rPr>
              <a:t>Build your first AI-powered Blazor app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28BBDF91-7CB6-3855-2E7F-07DE079514DD}"/>
              </a:ext>
            </a:extLst>
          </p:cNvPr>
          <p:cNvSpPr txBox="1">
            <a:spLocks/>
          </p:cNvSpPr>
          <p:nvPr/>
        </p:nvSpPr>
        <p:spPr>
          <a:xfrm>
            <a:off x="5183133" y="2725619"/>
            <a:ext cx="4603418" cy="86177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400" b="1" kern="1200" spc="0" baseline="0">
                <a:gradFill>
                  <a:gsLst>
                    <a:gs pos="100000">
                      <a:schemeClr val="accent2"/>
                    </a:gs>
                    <a:gs pos="47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tx1"/>
                </a:solidFill>
              </a:rPr>
              <a:t>Add AI features with .NET Smart Components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820FD169-2ACE-D3A1-29E4-356F056DCEC3}"/>
              </a:ext>
            </a:extLst>
          </p:cNvPr>
          <p:cNvSpPr txBox="1">
            <a:spLocks/>
          </p:cNvSpPr>
          <p:nvPr/>
        </p:nvSpPr>
        <p:spPr>
          <a:xfrm>
            <a:off x="5183133" y="3921670"/>
            <a:ext cx="3695682" cy="86177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400" b="1" kern="1200" spc="0" baseline="0">
                <a:gradFill>
                  <a:gsLst>
                    <a:gs pos="100000">
                      <a:schemeClr val="accent2"/>
                    </a:gs>
                    <a:gs pos="47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tx1"/>
                </a:solidFill>
              </a:rPr>
              <a:t>Leverage the .NET AI ecosystem</a:t>
            </a:r>
          </a:p>
        </p:txBody>
      </p:sp>
    </p:spTree>
    <p:extLst>
      <p:ext uri="{BB962C8B-B14F-4D97-AF65-F5344CB8AC3E}">
        <p14:creationId xmlns:p14="http://schemas.microsoft.com/office/powerpoint/2010/main" val="3516310884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AAB80BD-AF02-FA7B-3557-932B80ADC1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0676" y="422028"/>
            <a:ext cx="11018520" cy="553998"/>
          </a:xfrm>
        </p:spPr>
        <p:txBody>
          <a:bodyPr/>
          <a:lstStyle/>
          <a:p>
            <a:r>
              <a:rPr lang="en-US" sz="3600" dirty="0"/>
              <a:t>Access AI directly from the server with Blazo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E45FC19-3DE7-4CF8-FF9E-CC2DF06F392B}"/>
              </a:ext>
            </a:extLst>
          </p:cNvPr>
          <p:cNvSpPr txBox="1"/>
          <p:nvPr/>
        </p:nvSpPr>
        <p:spPr>
          <a:xfrm>
            <a:off x="5937530" y="4627651"/>
            <a:ext cx="836768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400" dirty="0"/>
              <a:t>Blazor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E50D89B-4B9C-E0BB-5FB2-F39C76F51843}"/>
              </a:ext>
            </a:extLst>
          </p:cNvPr>
          <p:cNvSpPr txBox="1"/>
          <p:nvPr/>
        </p:nvSpPr>
        <p:spPr>
          <a:xfrm>
            <a:off x="7404859" y="3715246"/>
            <a:ext cx="1242328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2400" dirty="0"/>
              <a:t>Semantic</a:t>
            </a:r>
          </a:p>
          <a:p>
            <a:pPr algn="ctr"/>
            <a:r>
              <a:rPr lang="en-US" sz="2400" dirty="0"/>
              <a:t>Kernel</a:t>
            </a:r>
          </a:p>
        </p:txBody>
      </p:sp>
      <p:sp>
        <p:nvSpPr>
          <p:cNvPr id="18" name="Arrow: Left-Right 17">
            <a:extLst>
              <a:ext uri="{FF2B5EF4-FFF2-40B4-BE49-F238E27FC236}">
                <a16:creationId xmlns:a16="http://schemas.microsoft.com/office/drawing/2014/main" id="{E839FFF8-4D45-482B-9BBA-106688E40C06}"/>
              </a:ext>
            </a:extLst>
          </p:cNvPr>
          <p:cNvSpPr/>
          <p:nvPr/>
        </p:nvSpPr>
        <p:spPr>
          <a:xfrm>
            <a:off x="2939877" y="3525928"/>
            <a:ext cx="1828799" cy="859362"/>
          </a:xfrm>
          <a:prstGeom prst="leftRightArrow">
            <a:avLst/>
          </a:prstGeom>
          <a:solidFill>
            <a:schemeClr val="accent1"/>
          </a:solidFill>
          <a:ln w="1162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45F944E-E3E6-806D-06CA-BDFF9AEA352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29727" y="3283570"/>
            <a:ext cx="1344081" cy="134408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26" name="Picture 2" descr="Semantic Kernel's new icon and the art of teamwork | Semantic Kernel">
            <a:extLst>
              <a:ext uri="{FF2B5EF4-FFF2-40B4-BE49-F238E27FC236}">
                <a16:creationId xmlns:a16="http://schemas.microsoft.com/office/drawing/2014/main" id="{D73E27E7-F242-5E57-5F6F-19FA9401C3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1556" y="2371165"/>
            <a:ext cx="1344081" cy="13440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Graphic 19" descr="Cloud outline">
            <a:extLst>
              <a:ext uri="{FF2B5EF4-FFF2-40B4-BE49-F238E27FC236}">
                <a16:creationId xmlns:a16="http://schemas.microsoft.com/office/drawing/2014/main" id="{C52511B7-82C3-446C-6AB7-BE5B390F0794}"/>
              </a:ext>
            </a:extLst>
          </p:cNvPr>
          <p:cNvSpPr>
            <a:spLocks noChangeAspect="1"/>
          </p:cNvSpPr>
          <p:nvPr/>
        </p:nvSpPr>
        <p:spPr>
          <a:xfrm>
            <a:off x="5048098" y="1828800"/>
            <a:ext cx="6299260" cy="3585344"/>
          </a:xfrm>
          <a:custGeom>
            <a:avLst/>
            <a:gdLst>
              <a:gd name="connsiteX0" fmla="*/ 136380 w 803118"/>
              <a:gd name="connsiteY0" fmla="*/ 456348 h 457110"/>
              <a:gd name="connsiteX1" fmla="*/ 174109 w 803118"/>
              <a:gd name="connsiteY1" fmla="*/ 457110 h 457110"/>
              <a:gd name="connsiteX2" fmla="*/ 688857 w 803118"/>
              <a:gd name="connsiteY2" fmla="*/ 457110 h 457110"/>
              <a:gd name="connsiteX3" fmla="*/ 803118 w 803118"/>
              <a:gd name="connsiteY3" fmla="*/ 341941 h 457110"/>
              <a:gd name="connsiteX4" fmla="*/ 689810 w 803118"/>
              <a:gd name="connsiteY4" fmla="*/ 227687 h 457110"/>
              <a:gd name="connsiteX5" fmla="*/ 680285 w 803118"/>
              <a:gd name="connsiteY5" fmla="*/ 227687 h 457110"/>
              <a:gd name="connsiteX6" fmla="*/ 620277 w 803118"/>
              <a:gd name="connsiteY6" fmla="*/ 111448 h 457110"/>
              <a:gd name="connsiteX7" fmla="*/ 489778 w 803118"/>
              <a:gd name="connsiteY7" fmla="*/ 93350 h 457110"/>
              <a:gd name="connsiteX8" fmla="*/ 259223 w 803118"/>
              <a:gd name="connsiteY8" fmla="*/ 18830 h 457110"/>
              <a:gd name="connsiteX9" fmla="*/ 165912 w 803118"/>
              <a:gd name="connsiteY9" fmla="*/ 170522 h 457110"/>
              <a:gd name="connsiteX10" fmla="*/ 165912 w 803118"/>
              <a:gd name="connsiteY10" fmla="*/ 172427 h 457110"/>
              <a:gd name="connsiteX11" fmla="*/ 143307 w 803118"/>
              <a:gd name="connsiteY11" fmla="*/ 170586 h 457110"/>
              <a:gd name="connsiteX12" fmla="*/ 0 w 803118"/>
              <a:gd name="connsiteY12" fmla="*/ 313560 h 457110"/>
              <a:gd name="connsiteX13" fmla="*/ 13501 w 803118"/>
              <a:gd name="connsiteY13" fmla="*/ 374413 h 457110"/>
              <a:gd name="connsiteX14" fmla="*/ 136380 w 803118"/>
              <a:gd name="connsiteY14" fmla="*/ 456348 h 457110"/>
              <a:gd name="connsiteX15" fmla="*/ 43965 w 803118"/>
              <a:gd name="connsiteY15" fmla="*/ 239142 h 457110"/>
              <a:gd name="connsiteX16" fmla="*/ 143301 w 803118"/>
              <a:gd name="connsiteY16" fmla="*/ 189634 h 457110"/>
              <a:gd name="connsiteX17" fmla="*/ 162828 w 803118"/>
              <a:gd name="connsiteY17" fmla="*/ 191224 h 457110"/>
              <a:gd name="connsiteX18" fmla="*/ 184955 w 803118"/>
              <a:gd name="connsiteY18" fmla="*/ 194843 h 457110"/>
              <a:gd name="connsiteX19" fmla="*/ 184955 w 803118"/>
              <a:gd name="connsiteY19" fmla="*/ 170518 h 457110"/>
              <a:gd name="connsiteX20" fmla="*/ 338194 w 803118"/>
              <a:gd name="connsiteY20" fmla="*/ 19153 h 457110"/>
              <a:gd name="connsiteX21" fmla="*/ 472827 w 803118"/>
              <a:gd name="connsiteY21" fmla="*/ 102048 h 457110"/>
              <a:gd name="connsiteX22" fmla="*/ 480392 w 803118"/>
              <a:gd name="connsiteY22" fmla="*/ 116782 h 457110"/>
              <a:gd name="connsiteX23" fmla="*/ 496034 w 803118"/>
              <a:gd name="connsiteY23" fmla="*/ 111340 h 457110"/>
              <a:gd name="connsiteX24" fmla="*/ 654020 w 803118"/>
              <a:gd name="connsiteY24" fmla="*/ 186110 h 457110"/>
              <a:gd name="connsiteX25" fmla="*/ 661234 w 803118"/>
              <a:gd name="connsiteY25" fmla="*/ 227687 h 457110"/>
              <a:gd name="connsiteX26" fmla="*/ 661234 w 803118"/>
              <a:gd name="connsiteY26" fmla="*/ 246737 h 457110"/>
              <a:gd name="connsiteX27" fmla="*/ 689809 w 803118"/>
              <a:gd name="connsiteY27" fmla="*/ 246737 h 457110"/>
              <a:gd name="connsiteX28" fmla="*/ 784059 w 803118"/>
              <a:gd name="connsiteY28" fmla="*/ 343801 h 457110"/>
              <a:gd name="connsiteX29" fmla="*/ 688857 w 803118"/>
              <a:gd name="connsiteY29" fmla="*/ 438060 h 457110"/>
              <a:gd name="connsiteX30" fmla="*/ 154389 w 803118"/>
              <a:gd name="connsiteY30" fmla="*/ 438060 h 457110"/>
              <a:gd name="connsiteX31" fmla="*/ 137414 w 803118"/>
              <a:gd name="connsiteY31" fmla="*/ 437326 h 457110"/>
              <a:gd name="connsiteX32" fmla="*/ 19106 w 803118"/>
              <a:gd name="connsiteY32" fmla="*/ 308356 h 457110"/>
              <a:gd name="connsiteX33" fmla="*/ 43962 w 803118"/>
              <a:gd name="connsiteY33" fmla="*/ 239142 h 4571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803118" h="457110">
                <a:moveTo>
                  <a:pt x="136380" y="456348"/>
                </a:moveTo>
                <a:cubicBezTo>
                  <a:pt x="146010" y="456873"/>
                  <a:pt x="174109" y="457110"/>
                  <a:pt x="174109" y="457110"/>
                </a:cubicBezTo>
                <a:lnTo>
                  <a:pt x="688857" y="457110"/>
                </a:lnTo>
                <a:cubicBezTo>
                  <a:pt x="752213" y="456860"/>
                  <a:pt x="803370" y="405296"/>
                  <a:pt x="803118" y="341941"/>
                </a:cubicBezTo>
                <a:cubicBezTo>
                  <a:pt x="802870" y="279311"/>
                  <a:pt x="752436" y="228455"/>
                  <a:pt x="689810" y="227687"/>
                </a:cubicBezTo>
                <a:lnTo>
                  <a:pt x="680285" y="227687"/>
                </a:lnTo>
                <a:cubicBezTo>
                  <a:pt x="680196" y="181531"/>
                  <a:pt x="657853" y="138251"/>
                  <a:pt x="620277" y="111448"/>
                </a:cubicBezTo>
                <a:cubicBezTo>
                  <a:pt x="582207" y="84811"/>
                  <a:pt x="533661" y="78079"/>
                  <a:pt x="489778" y="93350"/>
                </a:cubicBezTo>
                <a:cubicBezTo>
                  <a:pt x="446691" y="9107"/>
                  <a:pt x="343467" y="-24258"/>
                  <a:pt x="259223" y="18830"/>
                </a:cubicBezTo>
                <a:cubicBezTo>
                  <a:pt x="202218" y="47986"/>
                  <a:pt x="166228" y="106494"/>
                  <a:pt x="165912" y="170522"/>
                </a:cubicBezTo>
                <a:lnTo>
                  <a:pt x="165912" y="172427"/>
                </a:lnTo>
                <a:cubicBezTo>
                  <a:pt x="158438" y="171204"/>
                  <a:pt x="150879" y="170589"/>
                  <a:pt x="143307" y="170586"/>
                </a:cubicBezTo>
                <a:cubicBezTo>
                  <a:pt x="64252" y="170494"/>
                  <a:pt x="92" y="234506"/>
                  <a:pt x="0" y="313560"/>
                </a:cubicBezTo>
                <a:cubicBezTo>
                  <a:pt x="-24" y="334590"/>
                  <a:pt x="4585" y="355367"/>
                  <a:pt x="13501" y="374413"/>
                </a:cubicBezTo>
                <a:cubicBezTo>
                  <a:pt x="36640" y="421927"/>
                  <a:pt x="83621" y="453254"/>
                  <a:pt x="136380" y="456348"/>
                </a:cubicBezTo>
                <a:close/>
                <a:moveTo>
                  <a:pt x="43965" y="239142"/>
                </a:moveTo>
                <a:cubicBezTo>
                  <a:pt x="67730" y="208275"/>
                  <a:pt x="104348" y="190024"/>
                  <a:pt x="143301" y="189634"/>
                </a:cubicBezTo>
                <a:cubicBezTo>
                  <a:pt x="149842" y="189640"/>
                  <a:pt x="156372" y="190171"/>
                  <a:pt x="162828" y="191224"/>
                </a:cubicBezTo>
                <a:lnTo>
                  <a:pt x="184955" y="194843"/>
                </a:lnTo>
                <a:lnTo>
                  <a:pt x="184955" y="170518"/>
                </a:lnTo>
                <a:cubicBezTo>
                  <a:pt x="185472" y="86404"/>
                  <a:pt x="254080" y="18636"/>
                  <a:pt x="338194" y="19153"/>
                </a:cubicBezTo>
                <a:cubicBezTo>
                  <a:pt x="395022" y="19503"/>
                  <a:pt x="446929" y="51462"/>
                  <a:pt x="472827" y="102048"/>
                </a:cubicBezTo>
                <a:lnTo>
                  <a:pt x="480392" y="116782"/>
                </a:lnTo>
                <a:lnTo>
                  <a:pt x="496034" y="111340"/>
                </a:lnTo>
                <a:cubicBezTo>
                  <a:pt x="560308" y="88361"/>
                  <a:pt x="631039" y="121836"/>
                  <a:pt x="654020" y="186110"/>
                </a:cubicBezTo>
                <a:cubicBezTo>
                  <a:pt x="658790" y="199452"/>
                  <a:pt x="661230" y="213517"/>
                  <a:pt x="661234" y="227687"/>
                </a:cubicBezTo>
                <a:lnTo>
                  <a:pt x="661234" y="246737"/>
                </a:lnTo>
                <a:lnTo>
                  <a:pt x="689809" y="246737"/>
                </a:lnTo>
                <a:cubicBezTo>
                  <a:pt x="742638" y="247514"/>
                  <a:pt x="784836" y="290971"/>
                  <a:pt x="784059" y="343801"/>
                </a:cubicBezTo>
                <a:cubicBezTo>
                  <a:pt x="783292" y="395905"/>
                  <a:pt x="740967" y="437812"/>
                  <a:pt x="688857" y="438060"/>
                </a:cubicBezTo>
                <a:lnTo>
                  <a:pt x="154389" y="438060"/>
                </a:lnTo>
                <a:lnTo>
                  <a:pt x="137414" y="437326"/>
                </a:lnTo>
                <a:cubicBezTo>
                  <a:pt x="69130" y="434382"/>
                  <a:pt x="16162" y="376640"/>
                  <a:pt x="19106" y="308356"/>
                </a:cubicBezTo>
                <a:cubicBezTo>
                  <a:pt x="20186" y="283299"/>
                  <a:pt x="28855" y="259162"/>
                  <a:pt x="43962" y="23914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24" name="Graphic 22" descr="Browser window outline">
            <a:extLst>
              <a:ext uri="{FF2B5EF4-FFF2-40B4-BE49-F238E27FC236}">
                <a16:creationId xmlns:a16="http://schemas.microsoft.com/office/drawing/2014/main" id="{F5604452-CA11-20A8-9FCE-86A194503D76}"/>
              </a:ext>
            </a:extLst>
          </p:cNvPr>
          <p:cNvGrpSpPr>
            <a:grpSpLocks noChangeAspect="1"/>
          </p:cNvGrpSpPr>
          <p:nvPr/>
        </p:nvGrpSpPr>
        <p:grpSpPr>
          <a:xfrm>
            <a:off x="393238" y="3114403"/>
            <a:ext cx="2238750" cy="1735031"/>
            <a:chOff x="5715000" y="3133725"/>
            <a:chExt cx="762000" cy="590550"/>
          </a:xfrm>
          <a:solidFill>
            <a:schemeClr val="tx1"/>
          </a:solidFill>
        </p:grpSpPr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4F6DF58E-410F-20AC-5B05-39635145F6B2}"/>
                </a:ext>
              </a:extLst>
            </p:cNvPr>
            <p:cNvSpPr/>
            <p:nvPr/>
          </p:nvSpPr>
          <p:spPr>
            <a:xfrm>
              <a:off x="5715000" y="3133725"/>
              <a:ext cx="762000" cy="590550"/>
            </a:xfrm>
            <a:custGeom>
              <a:avLst/>
              <a:gdLst>
                <a:gd name="connsiteX0" fmla="*/ 0 w 762000"/>
                <a:gd name="connsiteY0" fmla="*/ 0 h 590550"/>
                <a:gd name="connsiteX1" fmla="*/ 0 w 762000"/>
                <a:gd name="connsiteY1" fmla="*/ 590550 h 590550"/>
                <a:gd name="connsiteX2" fmla="*/ 762000 w 762000"/>
                <a:gd name="connsiteY2" fmla="*/ 590550 h 590550"/>
                <a:gd name="connsiteX3" fmla="*/ 762000 w 762000"/>
                <a:gd name="connsiteY3" fmla="*/ 0 h 590550"/>
                <a:gd name="connsiteX4" fmla="*/ 742950 w 762000"/>
                <a:gd name="connsiteY4" fmla="*/ 19050 h 590550"/>
                <a:gd name="connsiteX5" fmla="*/ 742950 w 762000"/>
                <a:gd name="connsiteY5" fmla="*/ 142875 h 590550"/>
                <a:gd name="connsiteX6" fmla="*/ 19050 w 762000"/>
                <a:gd name="connsiteY6" fmla="*/ 142875 h 590550"/>
                <a:gd name="connsiteX7" fmla="*/ 19050 w 762000"/>
                <a:gd name="connsiteY7" fmla="*/ 19050 h 590550"/>
                <a:gd name="connsiteX8" fmla="*/ 19050 w 762000"/>
                <a:gd name="connsiteY8" fmla="*/ 571500 h 590550"/>
                <a:gd name="connsiteX9" fmla="*/ 19050 w 762000"/>
                <a:gd name="connsiteY9" fmla="*/ 161925 h 590550"/>
                <a:gd name="connsiteX10" fmla="*/ 742950 w 762000"/>
                <a:gd name="connsiteY10" fmla="*/ 161925 h 590550"/>
                <a:gd name="connsiteX11" fmla="*/ 742950 w 762000"/>
                <a:gd name="connsiteY11" fmla="*/ 571500 h 590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62000" h="590550">
                  <a:moveTo>
                    <a:pt x="0" y="0"/>
                  </a:moveTo>
                  <a:lnTo>
                    <a:pt x="0" y="590550"/>
                  </a:lnTo>
                  <a:lnTo>
                    <a:pt x="762000" y="590550"/>
                  </a:lnTo>
                  <a:lnTo>
                    <a:pt x="762000" y="0"/>
                  </a:lnTo>
                  <a:close/>
                  <a:moveTo>
                    <a:pt x="742950" y="19050"/>
                  </a:moveTo>
                  <a:lnTo>
                    <a:pt x="742950" y="142875"/>
                  </a:lnTo>
                  <a:lnTo>
                    <a:pt x="19050" y="142875"/>
                  </a:lnTo>
                  <a:lnTo>
                    <a:pt x="19050" y="19050"/>
                  </a:lnTo>
                  <a:close/>
                  <a:moveTo>
                    <a:pt x="19050" y="571500"/>
                  </a:moveTo>
                  <a:lnTo>
                    <a:pt x="19050" y="161925"/>
                  </a:lnTo>
                  <a:lnTo>
                    <a:pt x="742950" y="161925"/>
                  </a:lnTo>
                  <a:lnTo>
                    <a:pt x="742950" y="57150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F93DEDD4-3B20-84B2-7294-0DFEE3115280}"/>
                </a:ext>
              </a:extLst>
            </p:cNvPr>
            <p:cNvSpPr/>
            <p:nvPr/>
          </p:nvSpPr>
          <p:spPr>
            <a:xfrm>
              <a:off x="6219825" y="3190875"/>
              <a:ext cx="38100" cy="38100"/>
            </a:xfrm>
            <a:custGeom>
              <a:avLst/>
              <a:gdLst>
                <a:gd name="connsiteX0" fmla="*/ 38100 w 38100"/>
                <a:gd name="connsiteY0" fmla="*/ 19050 h 38100"/>
                <a:gd name="connsiteX1" fmla="*/ 19050 w 38100"/>
                <a:gd name="connsiteY1" fmla="*/ 38100 h 38100"/>
                <a:gd name="connsiteX2" fmla="*/ 0 w 38100"/>
                <a:gd name="connsiteY2" fmla="*/ 19050 h 38100"/>
                <a:gd name="connsiteX3" fmla="*/ 19050 w 38100"/>
                <a:gd name="connsiteY3" fmla="*/ 0 h 38100"/>
                <a:gd name="connsiteX4" fmla="*/ 38100 w 38100"/>
                <a:gd name="connsiteY4" fmla="*/ 1905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8100" y="19050"/>
                  </a:moveTo>
                  <a:cubicBezTo>
                    <a:pt x="38100" y="29571"/>
                    <a:pt x="29571" y="38100"/>
                    <a:pt x="19050" y="38100"/>
                  </a:cubicBezTo>
                  <a:cubicBezTo>
                    <a:pt x="8529" y="38100"/>
                    <a:pt x="0" y="29571"/>
                    <a:pt x="0" y="19050"/>
                  </a:cubicBezTo>
                  <a:cubicBezTo>
                    <a:pt x="0" y="8529"/>
                    <a:pt x="8529" y="0"/>
                    <a:pt x="19050" y="0"/>
                  </a:cubicBezTo>
                  <a:cubicBezTo>
                    <a:pt x="29571" y="0"/>
                    <a:pt x="38100" y="8529"/>
                    <a:pt x="38100" y="190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E7AB6B27-7DA1-F07A-019E-459D7C5C5A79}"/>
                </a:ext>
              </a:extLst>
            </p:cNvPr>
            <p:cNvSpPr/>
            <p:nvPr/>
          </p:nvSpPr>
          <p:spPr>
            <a:xfrm>
              <a:off x="6286500" y="3190875"/>
              <a:ext cx="38100" cy="38100"/>
            </a:xfrm>
            <a:custGeom>
              <a:avLst/>
              <a:gdLst>
                <a:gd name="connsiteX0" fmla="*/ 38100 w 38100"/>
                <a:gd name="connsiteY0" fmla="*/ 19050 h 38100"/>
                <a:gd name="connsiteX1" fmla="*/ 19050 w 38100"/>
                <a:gd name="connsiteY1" fmla="*/ 38100 h 38100"/>
                <a:gd name="connsiteX2" fmla="*/ 0 w 38100"/>
                <a:gd name="connsiteY2" fmla="*/ 19050 h 38100"/>
                <a:gd name="connsiteX3" fmla="*/ 19050 w 38100"/>
                <a:gd name="connsiteY3" fmla="*/ 0 h 38100"/>
                <a:gd name="connsiteX4" fmla="*/ 38100 w 38100"/>
                <a:gd name="connsiteY4" fmla="*/ 1905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8100" y="19050"/>
                  </a:moveTo>
                  <a:cubicBezTo>
                    <a:pt x="38100" y="29571"/>
                    <a:pt x="29571" y="38100"/>
                    <a:pt x="19050" y="38100"/>
                  </a:cubicBezTo>
                  <a:cubicBezTo>
                    <a:pt x="8529" y="38100"/>
                    <a:pt x="0" y="29571"/>
                    <a:pt x="0" y="19050"/>
                  </a:cubicBezTo>
                  <a:cubicBezTo>
                    <a:pt x="0" y="8529"/>
                    <a:pt x="8529" y="0"/>
                    <a:pt x="19050" y="0"/>
                  </a:cubicBezTo>
                  <a:cubicBezTo>
                    <a:pt x="29571" y="0"/>
                    <a:pt x="38100" y="8529"/>
                    <a:pt x="38100" y="190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1A257FC2-CB3E-3713-B8F0-9D0E9CDD87D0}"/>
                </a:ext>
              </a:extLst>
            </p:cNvPr>
            <p:cNvSpPr/>
            <p:nvPr/>
          </p:nvSpPr>
          <p:spPr>
            <a:xfrm>
              <a:off x="6353175" y="3190875"/>
              <a:ext cx="38100" cy="38100"/>
            </a:xfrm>
            <a:custGeom>
              <a:avLst/>
              <a:gdLst>
                <a:gd name="connsiteX0" fmla="*/ 38100 w 38100"/>
                <a:gd name="connsiteY0" fmla="*/ 19050 h 38100"/>
                <a:gd name="connsiteX1" fmla="*/ 19050 w 38100"/>
                <a:gd name="connsiteY1" fmla="*/ 38100 h 38100"/>
                <a:gd name="connsiteX2" fmla="*/ 0 w 38100"/>
                <a:gd name="connsiteY2" fmla="*/ 19050 h 38100"/>
                <a:gd name="connsiteX3" fmla="*/ 19050 w 38100"/>
                <a:gd name="connsiteY3" fmla="*/ 0 h 38100"/>
                <a:gd name="connsiteX4" fmla="*/ 38100 w 38100"/>
                <a:gd name="connsiteY4" fmla="*/ 1905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8100" y="19050"/>
                  </a:moveTo>
                  <a:cubicBezTo>
                    <a:pt x="38100" y="29571"/>
                    <a:pt x="29571" y="38100"/>
                    <a:pt x="19050" y="38100"/>
                  </a:cubicBezTo>
                  <a:cubicBezTo>
                    <a:pt x="8529" y="38100"/>
                    <a:pt x="0" y="29571"/>
                    <a:pt x="0" y="19050"/>
                  </a:cubicBezTo>
                  <a:cubicBezTo>
                    <a:pt x="0" y="8529"/>
                    <a:pt x="8529" y="0"/>
                    <a:pt x="19050" y="0"/>
                  </a:cubicBezTo>
                  <a:cubicBezTo>
                    <a:pt x="29571" y="0"/>
                    <a:pt x="38100" y="8529"/>
                    <a:pt x="38100" y="190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9" name="Graphic 66" descr="Brain circuit&#10;Keyword: fluent-icon, outlook;&#10;Metaphor: think, ai;&#10;&#10;">
            <a:extLst>
              <a:ext uri="{FF2B5EF4-FFF2-40B4-BE49-F238E27FC236}">
                <a16:creationId xmlns:a16="http://schemas.microsoft.com/office/drawing/2014/main" id="{9C107826-11D2-D8E6-040E-CDCE7B98E877}"/>
              </a:ext>
            </a:extLst>
          </p:cNvPr>
          <p:cNvSpPr>
            <a:spLocks noChangeAspect="1"/>
          </p:cNvSpPr>
          <p:nvPr/>
        </p:nvSpPr>
        <p:spPr>
          <a:xfrm>
            <a:off x="9015845" y="3408525"/>
            <a:ext cx="1218919" cy="1219126"/>
          </a:xfrm>
          <a:custGeom>
            <a:avLst/>
            <a:gdLst>
              <a:gd name="connsiteX0" fmla="*/ 140769 w 547518"/>
              <a:gd name="connsiteY0" fmla="*/ 27549 h 547611"/>
              <a:gd name="connsiteX1" fmla="*/ 222974 w 547518"/>
              <a:gd name="connsiteY1" fmla="*/ 0 h 547611"/>
              <a:gd name="connsiteX2" fmla="*/ 265889 w 547518"/>
              <a:gd name="connsiteY2" fmla="*/ 15748 h 547611"/>
              <a:gd name="connsiteX3" fmla="*/ 273759 w 547518"/>
              <a:gd name="connsiteY3" fmla="*/ 24090 h 547611"/>
              <a:gd name="connsiteX4" fmla="*/ 281630 w 547518"/>
              <a:gd name="connsiteY4" fmla="*/ 15748 h 547611"/>
              <a:gd name="connsiteX5" fmla="*/ 324545 w 547518"/>
              <a:gd name="connsiteY5" fmla="*/ 0 h 547611"/>
              <a:gd name="connsiteX6" fmla="*/ 406749 w 547518"/>
              <a:gd name="connsiteY6" fmla="*/ 27549 h 547611"/>
              <a:gd name="connsiteX7" fmla="*/ 443810 w 547518"/>
              <a:gd name="connsiteY7" fmla="*/ 83374 h 547611"/>
              <a:gd name="connsiteX8" fmla="*/ 473820 w 547518"/>
              <a:gd name="connsiteY8" fmla="*/ 98905 h 547611"/>
              <a:gd name="connsiteX9" fmla="*/ 502255 w 547518"/>
              <a:gd name="connsiteY9" fmla="*/ 147494 h 547611"/>
              <a:gd name="connsiteX10" fmla="*/ 510334 w 547518"/>
              <a:gd name="connsiteY10" fmla="*/ 207246 h 547611"/>
              <a:gd name="connsiteX11" fmla="*/ 505471 w 547518"/>
              <a:gd name="connsiteY11" fmla="*/ 238109 h 547611"/>
              <a:gd name="connsiteX12" fmla="*/ 507271 w 547518"/>
              <a:gd name="connsiteY12" fmla="*/ 238920 h 547611"/>
              <a:gd name="connsiteX13" fmla="*/ 531775 w 547518"/>
              <a:gd name="connsiteY13" fmla="*/ 261126 h 547611"/>
              <a:gd name="connsiteX14" fmla="*/ 547518 w 547518"/>
              <a:gd name="connsiteY14" fmla="*/ 341341 h 547611"/>
              <a:gd name="connsiteX15" fmla="*/ 512939 w 547518"/>
              <a:gd name="connsiteY15" fmla="*/ 424471 h 547611"/>
              <a:gd name="connsiteX16" fmla="*/ 478159 w 547518"/>
              <a:gd name="connsiteY16" fmla="*/ 443361 h 547611"/>
              <a:gd name="connsiteX17" fmla="*/ 450242 w 547518"/>
              <a:gd name="connsiteY17" fmla="*/ 501905 h 547611"/>
              <a:gd name="connsiteX18" fmla="*/ 358281 w 547518"/>
              <a:gd name="connsiteY18" fmla="*/ 547612 h 547611"/>
              <a:gd name="connsiteX19" fmla="*/ 282262 w 547518"/>
              <a:gd name="connsiteY19" fmla="*/ 511698 h 547611"/>
              <a:gd name="connsiteX20" fmla="*/ 273759 w 547518"/>
              <a:gd name="connsiteY20" fmla="*/ 501952 h 547611"/>
              <a:gd name="connsiteX21" fmla="*/ 265254 w 547518"/>
              <a:gd name="connsiteY21" fmla="*/ 511698 h 547611"/>
              <a:gd name="connsiteX22" fmla="*/ 189236 w 547518"/>
              <a:gd name="connsiteY22" fmla="*/ 547612 h 547611"/>
              <a:gd name="connsiteX23" fmla="*/ 97276 w 547518"/>
              <a:gd name="connsiteY23" fmla="*/ 501905 h 547611"/>
              <a:gd name="connsiteX24" fmla="*/ 69359 w 547518"/>
              <a:gd name="connsiteY24" fmla="*/ 443361 h 547611"/>
              <a:gd name="connsiteX25" fmla="*/ 34580 w 547518"/>
              <a:gd name="connsiteY25" fmla="*/ 424471 h 547611"/>
              <a:gd name="connsiteX26" fmla="*/ 0 w 547518"/>
              <a:gd name="connsiteY26" fmla="*/ 341341 h 547611"/>
              <a:gd name="connsiteX27" fmla="*/ 15742 w 547518"/>
              <a:gd name="connsiteY27" fmla="*/ 261126 h 547611"/>
              <a:gd name="connsiteX28" fmla="*/ 40247 w 547518"/>
              <a:gd name="connsiteY28" fmla="*/ 238920 h 547611"/>
              <a:gd name="connsiteX29" fmla="*/ 42047 w 547518"/>
              <a:gd name="connsiteY29" fmla="*/ 238109 h 547611"/>
              <a:gd name="connsiteX30" fmla="*/ 37185 w 547518"/>
              <a:gd name="connsiteY30" fmla="*/ 207246 h 547611"/>
              <a:gd name="connsiteX31" fmla="*/ 45264 w 547518"/>
              <a:gd name="connsiteY31" fmla="*/ 147494 h 547611"/>
              <a:gd name="connsiteX32" fmla="*/ 73699 w 547518"/>
              <a:gd name="connsiteY32" fmla="*/ 98905 h 547611"/>
              <a:gd name="connsiteX33" fmla="*/ 103708 w 547518"/>
              <a:gd name="connsiteY33" fmla="*/ 83374 h 547611"/>
              <a:gd name="connsiteX34" fmla="*/ 140769 w 547518"/>
              <a:gd name="connsiteY34" fmla="*/ 27549 h 547611"/>
              <a:gd name="connsiteX35" fmla="*/ 166010 w 547518"/>
              <a:gd name="connsiteY35" fmla="*/ 59973 h 547611"/>
              <a:gd name="connsiteX36" fmla="*/ 142305 w 547518"/>
              <a:gd name="connsiteY36" fmla="*/ 104965 h 547611"/>
              <a:gd name="connsiteX37" fmla="*/ 133771 w 547518"/>
              <a:gd name="connsiteY37" fmla="*/ 121634 h 547611"/>
              <a:gd name="connsiteX38" fmla="*/ 115258 w 547518"/>
              <a:gd name="connsiteY38" fmla="*/ 124455 h 547611"/>
              <a:gd name="connsiteX39" fmla="*/ 101817 w 547518"/>
              <a:gd name="connsiteY39" fmla="*/ 128869 h 547611"/>
              <a:gd name="connsiteX40" fmla="*/ 84389 w 547518"/>
              <a:gd name="connsiteY40" fmla="*/ 160053 h 547611"/>
              <a:gd name="connsiteX41" fmla="*/ 78235 w 547518"/>
              <a:gd name="connsiteY41" fmla="*/ 205401 h 547611"/>
              <a:gd name="connsiteX42" fmla="*/ 88252 w 547518"/>
              <a:gd name="connsiteY42" fmla="*/ 241843 h 547611"/>
              <a:gd name="connsiteX43" fmla="*/ 90524 w 547518"/>
              <a:gd name="connsiteY43" fmla="*/ 246385 h 547611"/>
              <a:gd name="connsiteX44" fmla="*/ 120167 w 547518"/>
              <a:gd name="connsiteY44" fmla="*/ 246385 h 547611"/>
              <a:gd name="connsiteX45" fmla="*/ 198036 w 547518"/>
              <a:gd name="connsiteY45" fmla="*/ 318768 h 547611"/>
              <a:gd name="connsiteX46" fmla="*/ 232488 w 547518"/>
              <a:gd name="connsiteY46" fmla="*/ 369658 h 547611"/>
              <a:gd name="connsiteX47" fmla="*/ 177700 w 547518"/>
              <a:gd name="connsiteY47" fmla="*/ 424446 h 547611"/>
              <a:gd name="connsiteX48" fmla="*/ 122912 w 547518"/>
              <a:gd name="connsiteY48" fmla="*/ 369658 h 547611"/>
              <a:gd name="connsiteX49" fmla="*/ 156752 w 547518"/>
              <a:gd name="connsiteY49" fmla="*/ 319017 h 547611"/>
              <a:gd name="connsiteX50" fmla="*/ 120167 w 547518"/>
              <a:gd name="connsiteY50" fmla="*/ 287476 h 547611"/>
              <a:gd name="connsiteX51" fmla="*/ 48943 w 547518"/>
              <a:gd name="connsiteY51" fmla="*/ 287476 h 547611"/>
              <a:gd name="connsiteX52" fmla="*/ 48254 w 547518"/>
              <a:gd name="connsiteY52" fmla="*/ 287465 h 547611"/>
              <a:gd name="connsiteX53" fmla="*/ 41091 w 547518"/>
              <a:gd name="connsiteY53" fmla="*/ 341341 h 547611"/>
              <a:gd name="connsiteX54" fmla="*/ 61335 w 547518"/>
              <a:gd name="connsiteY54" fmla="*/ 393285 h 547611"/>
              <a:gd name="connsiteX55" fmla="*/ 88022 w 547518"/>
              <a:gd name="connsiteY55" fmla="*/ 405215 h 547611"/>
              <a:gd name="connsiteX56" fmla="*/ 108567 w 547518"/>
              <a:gd name="connsiteY56" fmla="*/ 425761 h 547611"/>
              <a:gd name="connsiteX57" fmla="*/ 129374 w 547518"/>
              <a:gd name="connsiteY57" fmla="*/ 476251 h 547611"/>
              <a:gd name="connsiteX58" fmla="*/ 189236 w 547518"/>
              <a:gd name="connsiteY58" fmla="*/ 506521 h 547611"/>
              <a:gd name="connsiteX59" fmla="*/ 235517 w 547518"/>
              <a:gd name="connsiteY59" fmla="*/ 483340 h 547611"/>
              <a:gd name="connsiteX60" fmla="*/ 249718 w 547518"/>
              <a:gd name="connsiteY60" fmla="*/ 464570 h 547611"/>
              <a:gd name="connsiteX61" fmla="*/ 252893 w 547518"/>
              <a:gd name="connsiteY61" fmla="*/ 458192 h 547611"/>
              <a:gd name="connsiteX62" fmla="*/ 253036 w 547518"/>
              <a:gd name="connsiteY62" fmla="*/ 457820 h 547611"/>
              <a:gd name="connsiteX63" fmla="*/ 253036 w 547518"/>
              <a:gd name="connsiteY63" fmla="*/ 390557 h 547611"/>
              <a:gd name="connsiteX64" fmla="*/ 253033 w 547518"/>
              <a:gd name="connsiteY64" fmla="*/ 390203 h 547611"/>
              <a:gd name="connsiteX65" fmla="*/ 253036 w 547518"/>
              <a:gd name="connsiteY65" fmla="*/ 389850 h 547611"/>
              <a:gd name="connsiteX66" fmla="*/ 253036 w 547518"/>
              <a:gd name="connsiteY66" fmla="*/ 198445 h 547611"/>
              <a:gd name="connsiteX67" fmla="*/ 228505 w 547518"/>
              <a:gd name="connsiteY67" fmla="*/ 198445 h 547611"/>
              <a:gd name="connsiteX68" fmla="*/ 177700 w 547518"/>
              <a:gd name="connsiteY68" fmla="*/ 232688 h 547611"/>
              <a:gd name="connsiteX69" fmla="*/ 122912 w 547518"/>
              <a:gd name="connsiteY69" fmla="*/ 177900 h 547611"/>
              <a:gd name="connsiteX70" fmla="*/ 177700 w 547518"/>
              <a:gd name="connsiteY70" fmla="*/ 123112 h 547611"/>
              <a:gd name="connsiteX71" fmla="*/ 228505 w 547518"/>
              <a:gd name="connsiteY71" fmla="*/ 157354 h 547611"/>
              <a:gd name="connsiteX72" fmla="*/ 253036 w 547518"/>
              <a:gd name="connsiteY72" fmla="*/ 157354 h 547611"/>
              <a:gd name="connsiteX73" fmla="*/ 253036 w 547518"/>
              <a:gd name="connsiteY73" fmla="*/ 88147 h 547611"/>
              <a:gd name="connsiteX74" fmla="*/ 253030 w 547518"/>
              <a:gd name="connsiteY74" fmla="*/ 87836 h 547611"/>
              <a:gd name="connsiteX75" fmla="*/ 252967 w 547518"/>
              <a:gd name="connsiteY75" fmla="*/ 86278 h 547611"/>
              <a:gd name="connsiteX76" fmla="*/ 252403 w 547518"/>
              <a:gd name="connsiteY76" fmla="*/ 80075 h 547611"/>
              <a:gd name="connsiteX77" fmla="*/ 248017 w 547518"/>
              <a:gd name="connsiteY77" fmla="*/ 61522 h 547611"/>
              <a:gd name="connsiteX78" fmla="*/ 238575 w 547518"/>
              <a:gd name="connsiteY78" fmla="*/ 46448 h 547611"/>
              <a:gd name="connsiteX79" fmla="*/ 222974 w 547518"/>
              <a:gd name="connsiteY79" fmla="*/ 41091 h 547611"/>
              <a:gd name="connsiteX80" fmla="*/ 166010 w 547518"/>
              <a:gd name="connsiteY80" fmla="*/ 59973 h 547611"/>
              <a:gd name="connsiteX81" fmla="*/ 294483 w 547518"/>
              <a:gd name="connsiteY81" fmla="*/ 410749 h 547611"/>
              <a:gd name="connsiteX82" fmla="*/ 294483 w 547518"/>
              <a:gd name="connsiteY82" fmla="*/ 457820 h 547611"/>
              <a:gd name="connsiteX83" fmla="*/ 294623 w 547518"/>
              <a:gd name="connsiteY83" fmla="*/ 458192 h 547611"/>
              <a:gd name="connsiteX84" fmla="*/ 297800 w 547518"/>
              <a:gd name="connsiteY84" fmla="*/ 464570 h 547611"/>
              <a:gd name="connsiteX85" fmla="*/ 311999 w 547518"/>
              <a:gd name="connsiteY85" fmla="*/ 483340 h 547611"/>
              <a:gd name="connsiteX86" fmla="*/ 358281 w 547518"/>
              <a:gd name="connsiteY86" fmla="*/ 506521 h 547611"/>
              <a:gd name="connsiteX87" fmla="*/ 418145 w 547518"/>
              <a:gd name="connsiteY87" fmla="*/ 476251 h 547611"/>
              <a:gd name="connsiteX88" fmla="*/ 438950 w 547518"/>
              <a:gd name="connsiteY88" fmla="*/ 425761 h 547611"/>
              <a:gd name="connsiteX89" fmla="*/ 459496 w 547518"/>
              <a:gd name="connsiteY89" fmla="*/ 405215 h 547611"/>
              <a:gd name="connsiteX90" fmla="*/ 486183 w 547518"/>
              <a:gd name="connsiteY90" fmla="*/ 393285 h 547611"/>
              <a:gd name="connsiteX91" fmla="*/ 506427 w 547518"/>
              <a:gd name="connsiteY91" fmla="*/ 341341 h 547611"/>
              <a:gd name="connsiteX92" fmla="*/ 496867 w 547518"/>
              <a:gd name="connsiteY92" fmla="*/ 282800 h 547611"/>
              <a:gd name="connsiteX93" fmla="*/ 489742 w 547518"/>
              <a:gd name="connsiteY93" fmla="*/ 276086 h 547611"/>
              <a:gd name="connsiteX94" fmla="*/ 476365 w 547518"/>
              <a:gd name="connsiteY94" fmla="*/ 273779 h 547611"/>
              <a:gd name="connsiteX95" fmla="*/ 458252 w 547518"/>
              <a:gd name="connsiteY95" fmla="*/ 262931 h 547611"/>
              <a:gd name="connsiteX96" fmla="*/ 459266 w 547518"/>
              <a:gd name="connsiteY96" fmla="*/ 241843 h 547611"/>
              <a:gd name="connsiteX97" fmla="*/ 469284 w 547518"/>
              <a:gd name="connsiteY97" fmla="*/ 205401 h 547611"/>
              <a:gd name="connsiteX98" fmla="*/ 463128 w 547518"/>
              <a:gd name="connsiteY98" fmla="*/ 160053 h 547611"/>
              <a:gd name="connsiteX99" fmla="*/ 445700 w 547518"/>
              <a:gd name="connsiteY99" fmla="*/ 128869 h 547611"/>
              <a:gd name="connsiteX100" fmla="*/ 432261 w 547518"/>
              <a:gd name="connsiteY100" fmla="*/ 124455 h 547611"/>
              <a:gd name="connsiteX101" fmla="*/ 413748 w 547518"/>
              <a:gd name="connsiteY101" fmla="*/ 121634 h 547611"/>
              <a:gd name="connsiteX102" fmla="*/ 405212 w 547518"/>
              <a:gd name="connsiteY102" fmla="*/ 104965 h 547611"/>
              <a:gd name="connsiteX103" fmla="*/ 381508 w 547518"/>
              <a:gd name="connsiteY103" fmla="*/ 59973 h 547611"/>
              <a:gd name="connsiteX104" fmla="*/ 324545 w 547518"/>
              <a:gd name="connsiteY104" fmla="*/ 41091 h 547611"/>
              <a:gd name="connsiteX105" fmla="*/ 308944 w 547518"/>
              <a:gd name="connsiteY105" fmla="*/ 46448 h 547611"/>
              <a:gd name="connsiteX106" fmla="*/ 299501 w 547518"/>
              <a:gd name="connsiteY106" fmla="*/ 61522 h 547611"/>
              <a:gd name="connsiteX107" fmla="*/ 295116 w 547518"/>
              <a:gd name="connsiteY107" fmla="*/ 80075 h 547611"/>
              <a:gd name="connsiteX108" fmla="*/ 294551 w 547518"/>
              <a:gd name="connsiteY108" fmla="*/ 86278 h 547611"/>
              <a:gd name="connsiteX109" fmla="*/ 294488 w 547518"/>
              <a:gd name="connsiteY109" fmla="*/ 87836 h 547611"/>
              <a:gd name="connsiteX110" fmla="*/ 294483 w 547518"/>
              <a:gd name="connsiteY110" fmla="*/ 88147 h 547611"/>
              <a:gd name="connsiteX111" fmla="*/ 294483 w 547518"/>
              <a:gd name="connsiteY111" fmla="*/ 369658 h 547611"/>
              <a:gd name="connsiteX112" fmla="*/ 311930 w 547518"/>
              <a:gd name="connsiteY112" fmla="*/ 369658 h 547611"/>
              <a:gd name="connsiteX113" fmla="*/ 348912 w 547518"/>
              <a:gd name="connsiteY113" fmla="*/ 332676 h 547611"/>
              <a:gd name="connsiteX114" fmla="*/ 348912 w 547518"/>
              <a:gd name="connsiteY114" fmla="*/ 283493 h 547611"/>
              <a:gd name="connsiteX115" fmla="*/ 314669 w 547518"/>
              <a:gd name="connsiteY115" fmla="*/ 232688 h 547611"/>
              <a:gd name="connsiteX116" fmla="*/ 369457 w 547518"/>
              <a:gd name="connsiteY116" fmla="*/ 177900 h 547611"/>
              <a:gd name="connsiteX117" fmla="*/ 424245 w 547518"/>
              <a:gd name="connsiteY117" fmla="*/ 232688 h 547611"/>
              <a:gd name="connsiteX118" fmla="*/ 390003 w 547518"/>
              <a:gd name="connsiteY118" fmla="*/ 283493 h 547611"/>
              <a:gd name="connsiteX119" fmla="*/ 390003 w 547518"/>
              <a:gd name="connsiteY119" fmla="*/ 332676 h 547611"/>
              <a:gd name="connsiteX120" fmla="*/ 311930 w 547518"/>
              <a:gd name="connsiteY120" fmla="*/ 410749 h 547611"/>
              <a:gd name="connsiteX121" fmla="*/ 294483 w 547518"/>
              <a:gd name="connsiteY121" fmla="*/ 410749 h 547611"/>
              <a:gd name="connsiteX122" fmla="*/ 177700 w 547518"/>
              <a:gd name="connsiteY122" fmla="*/ 164203 h 547611"/>
              <a:gd name="connsiteX123" fmla="*/ 164003 w 547518"/>
              <a:gd name="connsiteY123" fmla="*/ 177900 h 547611"/>
              <a:gd name="connsiteX124" fmla="*/ 177700 w 547518"/>
              <a:gd name="connsiteY124" fmla="*/ 191597 h 547611"/>
              <a:gd name="connsiteX125" fmla="*/ 191397 w 547518"/>
              <a:gd name="connsiteY125" fmla="*/ 177900 h 547611"/>
              <a:gd name="connsiteX126" fmla="*/ 177700 w 547518"/>
              <a:gd name="connsiteY126" fmla="*/ 164203 h 547611"/>
              <a:gd name="connsiteX127" fmla="*/ 164003 w 547518"/>
              <a:gd name="connsiteY127" fmla="*/ 369658 h 547611"/>
              <a:gd name="connsiteX128" fmla="*/ 177700 w 547518"/>
              <a:gd name="connsiteY128" fmla="*/ 383355 h 547611"/>
              <a:gd name="connsiteX129" fmla="*/ 191397 w 547518"/>
              <a:gd name="connsiteY129" fmla="*/ 369658 h 547611"/>
              <a:gd name="connsiteX130" fmla="*/ 177700 w 547518"/>
              <a:gd name="connsiteY130" fmla="*/ 355961 h 547611"/>
              <a:gd name="connsiteX131" fmla="*/ 164003 w 547518"/>
              <a:gd name="connsiteY131" fmla="*/ 369658 h 547611"/>
              <a:gd name="connsiteX132" fmla="*/ 355760 w 547518"/>
              <a:gd name="connsiteY132" fmla="*/ 232688 h 547611"/>
              <a:gd name="connsiteX133" fmla="*/ 369457 w 547518"/>
              <a:gd name="connsiteY133" fmla="*/ 246385 h 547611"/>
              <a:gd name="connsiteX134" fmla="*/ 383154 w 547518"/>
              <a:gd name="connsiteY134" fmla="*/ 232688 h 547611"/>
              <a:gd name="connsiteX135" fmla="*/ 369457 w 547518"/>
              <a:gd name="connsiteY135" fmla="*/ 218991 h 547611"/>
              <a:gd name="connsiteX136" fmla="*/ 355760 w 547518"/>
              <a:gd name="connsiteY136" fmla="*/ 232688 h 5476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</a:cxnLst>
            <a:rect l="l" t="t" r="r" b="b"/>
            <a:pathLst>
              <a:path w="547518" h="547611">
                <a:moveTo>
                  <a:pt x="140769" y="27549"/>
                </a:moveTo>
                <a:cubicBezTo>
                  <a:pt x="163551" y="9814"/>
                  <a:pt x="193355" y="0"/>
                  <a:pt x="222974" y="0"/>
                </a:cubicBezTo>
                <a:cubicBezTo>
                  <a:pt x="240684" y="0"/>
                  <a:pt x="255025" y="6084"/>
                  <a:pt x="265889" y="15748"/>
                </a:cubicBezTo>
                <a:cubicBezTo>
                  <a:pt x="268828" y="18363"/>
                  <a:pt x="271439" y="21172"/>
                  <a:pt x="273759" y="24090"/>
                </a:cubicBezTo>
                <a:cubicBezTo>
                  <a:pt x="276080" y="21172"/>
                  <a:pt x="278690" y="18363"/>
                  <a:pt x="281630" y="15748"/>
                </a:cubicBezTo>
                <a:cubicBezTo>
                  <a:pt x="292491" y="6084"/>
                  <a:pt x="306835" y="0"/>
                  <a:pt x="324545" y="0"/>
                </a:cubicBezTo>
                <a:cubicBezTo>
                  <a:pt x="354163" y="0"/>
                  <a:pt x="383968" y="9814"/>
                  <a:pt x="406749" y="27549"/>
                </a:cubicBezTo>
                <a:cubicBezTo>
                  <a:pt x="424473" y="41347"/>
                  <a:pt x="438367" y="60367"/>
                  <a:pt x="443810" y="83374"/>
                </a:cubicBezTo>
                <a:cubicBezTo>
                  <a:pt x="455321" y="85277"/>
                  <a:pt x="465550" y="91144"/>
                  <a:pt x="473820" y="98905"/>
                </a:cubicBezTo>
                <a:cubicBezTo>
                  <a:pt x="486988" y="111263"/>
                  <a:pt x="496354" y="129118"/>
                  <a:pt x="502255" y="147494"/>
                </a:cubicBezTo>
                <a:cubicBezTo>
                  <a:pt x="508241" y="166148"/>
                  <a:pt x="511238" y="187117"/>
                  <a:pt x="510334" y="207246"/>
                </a:cubicBezTo>
                <a:cubicBezTo>
                  <a:pt x="509871" y="217551"/>
                  <a:pt x="508361" y="228053"/>
                  <a:pt x="505471" y="238109"/>
                </a:cubicBezTo>
                <a:cubicBezTo>
                  <a:pt x="506074" y="238370"/>
                  <a:pt x="506674" y="238641"/>
                  <a:pt x="507271" y="238920"/>
                </a:cubicBezTo>
                <a:cubicBezTo>
                  <a:pt x="517412" y="243703"/>
                  <a:pt x="525608" y="251190"/>
                  <a:pt x="531775" y="261126"/>
                </a:cubicBezTo>
                <a:cubicBezTo>
                  <a:pt x="543420" y="279882"/>
                  <a:pt x="547518" y="306909"/>
                  <a:pt x="547518" y="341341"/>
                </a:cubicBezTo>
                <a:cubicBezTo>
                  <a:pt x="547518" y="380911"/>
                  <a:pt x="532394" y="407782"/>
                  <a:pt x="512939" y="424471"/>
                </a:cubicBezTo>
                <a:cubicBezTo>
                  <a:pt x="501650" y="434154"/>
                  <a:pt x="489191" y="440156"/>
                  <a:pt x="478159" y="443361"/>
                </a:cubicBezTo>
                <a:cubicBezTo>
                  <a:pt x="474338" y="462334"/>
                  <a:pt x="464780" y="483715"/>
                  <a:pt x="450242" y="501905"/>
                </a:cubicBezTo>
                <a:cubicBezTo>
                  <a:pt x="430442" y="526677"/>
                  <a:pt x="399665" y="547612"/>
                  <a:pt x="358281" y="547612"/>
                </a:cubicBezTo>
                <a:cubicBezTo>
                  <a:pt x="325126" y="547612"/>
                  <a:pt x="299028" y="529277"/>
                  <a:pt x="282262" y="511698"/>
                </a:cubicBezTo>
                <a:cubicBezTo>
                  <a:pt x="279197" y="508482"/>
                  <a:pt x="276356" y="505209"/>
                  <a:pt x="273759" y="501952"/>
                </a:cubicBezTo>
                <a:cubicBezTo>
                  <a:pt x="271160" y="505209"/>
                  <a:pt x="268322" y="508482"/>
                  <a:pt x="265254" y="511698"/>
                </a:cubicBezTo>
                <a:cubicBezTo>
                  <a:pt x="248491" y="529277"/>
                  <a:pt x="222390" y="547612"/>
                  <a:pt x="189236" y="547612"/>
                </a:cubicBezTo>
                <a:cubicBezTo>
                  <a:pt x="147853" y="547612"/>
                  <a:pt x="117077" y="526677"/>
                  <a:pt x="97276" y="501905"/>
                </a:cubicBezTo>
                <a:cubicBezTo>
                  <a:pt x="82737" y="483715"/>
                  <a:pt x="73180" y="462334"/>
                  <a:pt x="69359" y="443361"/>
                </a:cubicBezTo>
                <a:cubicBezTo>
                  <a:pt x="58327" y="440156"/>
                  <a:pt x="45868" y="434154"/>
                  <a:pt x="34580" y="424471"/>
                </a:cubicBezTo>
                <a:cubicBezTo>
                  <a:pt x="15125" y="407782"/>
                  <a:pt x="0" y="380911"/>
                  <a:pt x="0" y="341341"/>
                </a:cubicBezTo>
                <a:cubicBezTo>
                  <a:pt x="0" y="306909"/>
                  <a:pt x="4097" y="279882"/>
                  <a:pt x="15742" y="261126"/>
                </a:cubicBezTo>
                <a:cubicBezTo>
                  <a:pt x="21910" y="251190"/>
                  <a:pt x="30107" y="243703"/>
                  <a:pt x="40247" y="238920"/>
                </a:cubicBezTo>
                <a:cubicBezTo>
                  <a:pt x="40844" y="238641"/>
                  <a:pt x="41444" y="238370"/>
                  <a:pt x="42047" y="238109"/>
                </a:cubicBezTo>
                <a:cubicBezTo>
                  <a:pt x="39157" y="228053"/>
                  <a:pt x="37649" y="217551"/>
                  <a:pt x="37185" y="207246"/>
                </a:cubicBezTo>
                <a:cubicBezTo>
                  <a:pt x="36281" y="187117"/>
                  <a:pt x="39277" y="166148"/>
                  <a:pt x="45264" y="147494"/>
                </a:cubicBezTo>
                <a:cubicBezTo>
                  <a:pt x="51163" y="129118"/>
                  <a:pt x="60529" y="111263"/>
                  <a:pt x="73699" y="98905"/>
                </a:cubicBezTo>
                <a:cubicBezTo>
                  <a:pt x="81970" y="91144"/>
                  <a:pt x="92198" y="85277"/>
                  <a:pt x="103708" y="83374"/>
                </a:cubicBezTo>
                <a:cubicBezTo>
                  <a:pt x="109152" y="60367"/>
                  <a:pt x="123044" y="41347"/>
                  <a:pt x="140769" y="27549"/>
                </a:cubicBezTo>
                <a:close/>
                <a:moveTo>
                  <a:pt x="166010" y="59973"/>
                </a:moveTo>
                <a:cubicBezTo>
                  <a:pt x="151060" y="71612"/>
                  <a:pt x="142305" y="87116"/>
                  <a:pt x="142305" y="104965"/>
                </a:cubicBezTo>
                <a:cubicBezTo>
                  <a:pt x="142305" y="111571"/>
                  <a:pt x="139130" y="117773"/>
                  <a:pt x="133771" y="121634"/>
                </a:cubicBezTo>
                <a:cubicBezTo>
                  <a:pt x="128412" y="125496"/>
                  <a:pt x="121523" y="126545"/>
                  <a:pt x="115258" y="124455"/>
                </a:cubicBezTo>
                <a:cubicBezTo>
                  <a:pt x="111494" y="123199"/>
                  <a:pt x="107533" y="123505"/>
                  <a:pt x="101817" y="128869"/>
                </a:cubicBezTo>
                <a:cubicBezTo>
                  <a:pt x="95483" y="134813"/>
                  <a:pt x="89034" y="145583"/>
                  <a:pt x="84389" y="160053"/>
                </a:cubicBezTo>
                <a:cubicBezTo>
                  <a:pt x="79834" y="174245"/>
                  <a:pt x="77558" y="190343"/>
                  <a:pt x="78235" y="205401"/>
                </a:cubicBezTo>
                <a:cubicBezTo>
                  <a:pt x="78920" y="220648"/>
                  <a:pt x="82546" y="233277"/>
                  <a:pt x="88252" y="241843"/>
                </a:cubicBezTo>
                <a:cubicBezTo>
                  <a:pt x="89207" y="243279"/>
                  <a:pt x="89965" y="244804"/>
                  <a:pt x="90524" y="246385"/>
                </a:cubicBezTo>
                <a:lnTo>
                  <a:pt x="120167" y="246385"/>
                </a:lnTo>
                <a:cubicBezTo>
                  <a:pt x="161372" y="246385"/>
                  <a:pt x="195121" y="278307"/>
                  <a:pt x="198036" y="318768"/>
                </a:cubicBezTo>
                <a:cubicBezTo>
                  <a:pt x="218225" y="326844"/>
                  <a:pt x="232488" y="346584"/>
                  <a:pt x="232488" y="369658"/>
                </a:cubicBezTo>
                <a:cubicBezTo>
                  <a:pt x="232488" y="399917"/>
                  <a:pt x="207958" y="424446"/>
                  <a:pt x="177700" y="424446"/>
                </a:cubicBezTo>
                <a:cubicBezTo>
                  <a:pt x="147441" y="424446"/>
                  <a:pt x="122912" y="399917"/>
                  <a:pt x="122912" y="369658"/>
                </a:cubicBezTo>
                <a:cubicBezTo>
                  <a:pt x="122912" y="346820"/>
                  <a:pt x="136887" y="327244"/>
                  <a:pt x="156752" y="319017"/>
                </a:cubicBezTo>
                <a:cubicBezTo>
                  <a:pt x="154120" y="301173"/>
                  <a:pt x="138743" y="287476"/>
                  <a:pt x="120167" y="287476"/>
                </a:cubicBezTo>
                <a:lnTo>
                  <a:pt x="48943" y="287476"/>
                </a:lnTo>
                <a:cubicBezTo>
                  <a:pt x="48712" y="287476"/>
                  <a:pt x="48483" y="287473"/>
                  <a:pt x="48254" y="287465"/>
                </a:cubicBezTo>
                <a:cubicBezTo>
                  <a:pt x="44165" y="296998"/>
                  <a:pt x="41091" y="313473"/>
                  <a:pt x="41091" y="341341"/>
                </a:cubicBezTo>
                <a:cubicBezTo>
                  <a:pt x="41091" y="369307"/>
                  <a:pt x="51269" y="384648"/>
                  <a:pt x="61335" y="393285"/>
                </a:cubicBezTo>
                <a:cubicBezTo>
                  <a:pt x="72381" y="402761"/>
                  <a:pt x="84508" y="405215"/>
                  <a:pt x="88022" y="405215"/>
                </a:cubicBezTo>
                <a:cubicBezTo>
                  <a:pt x="99369" y="405215"/>
                  <a:pt x="108567" y="414414"/>
                  <a:pt x="108567" y="425761"/>
                </a:cubicBezTo>
                <a:cubicBezTo>
                  <a:pt x="108567" y="437242"/>
                  <a:pt x="114917" y="458162"/>
                  <a:pt x="129374" y="476251"/>
                </a:cubicBezTo>
                <a:cubicBezTo>
                  <a:pt x="143312" y="493687"/>
                  <a:pt x="163143" y="506521"/>
                  <a:pt x="189236" y="506521"/>
                </a:cubicBezTo>
                <a:cubicBezTo>
                  <a:pt x="206688" y="506521"/>
                  <a:pt x="222763" y="496714"/>
                  <a:pt x="235517" y="483340"/>
                </a:cubicBezTo>
                <a:cubicBezTo>
                  <a:pt x="241730" y="476826"/>
                  <a:pt x="246554" y="470060"/>
                  <a:pt x="249718" y="464570"/>
                </a:cubicBezTo>
                <a:cubicBezTo>
                  <a:pt x="251305" y="461819"/>
                  <a:pt x="252329" y="459639"/>
                  <a:pt x="252893" y="458192"/>
                </a:cubicBezTo>
                <a:lnTo>
                  <a:pt x="253036" y="457820"/>
                </a:lnTo>
                <a:lnTo>
                  <a:pt x="253036" y="390557"/>
                </a:lnTo>
                <a:cubicBezTo>
                  <a:pt x="253033" y="390439"/>
                  <a:pt x="253033" y="390321"/>
                  <a:pt x="253033" y="390203"/>
                </a:cubicBezTo>
                <a:cubicBezTo>
                  <a:pt x="253033" y="390086"/>
                  <a:pt x="253033" y="389968"/>
                  <a:pt x="253036" y="389850"/>
                </a:cubicBezTo>
                <a:lnTo>
                  <a:pt x="253036" y="198445"/>
                </a:lnTo>
                <a:lnTo>
                  <a:pt x="228505" y="198445"/>
                </a:lnTo>
                <a:cubicBezTo>
                  <a:pt x="220377" y="218524"/>
                  <a:pt x="200693" y="232688"/>
                  <a:pt x="177700" y="232688"/>
                </a:cubicBezTo>
                <a:cubicBezTo>
                  <a:pt x="147441" y="232688"/>
                  <a:pt x="122912" y="208159"/>
                  <a:pt x="122912" y="177900"/>
                </a:cubicBezTo>
                <a:cubicBezTo>
                  <a:pt x="122912" y="147642"/>
                  <a:pt x="147441" y="123112"/>
                  <a:pt x="177700" y="123112"/>
                </a:cubicBezTo>
                <a:cubicBezTo>
                  <a:pt x="200693" y="123112"/>
                  <a:pt x="220377" y="137276"/>
                  <a:pt x="228505" y="157354"/>
                </a:cubicBezTo>
                <a:lnTo>
                  <a:pt x="253036" y="157354"/>
                </a:lnTo>
                <a:lnTo>
                  <a:pt x="253036" y="88147"/>
                </a:lnTo>
                <a:lnTo>
                  <a:pt x="253030" y="87836"/>
                </a:lnTo>
                <a:cubicBezTo>
                  <a:pt x="253022" y="87523"/>
                  <a:pt x="253006" y="86993"/>
                  <a:pt x="252967" y="86278"/>
                </a:cubicBezTo>
                <a:cubicBezTo>
                  <a:pt x="252891" y="84841"/>
                  <a:pt x="252732" y="82691"/>
                  <a:pt x="252403" y="80075"/>
                </a:cubicBezTo>
                <a:cubicBezTo>
                  <a:pt x="251737" y="74736"/>
                  <a:pt x="250436" y="67982"/>
                  <a:pt x="248017" y="61522"/>
                </a:cubicBezTo>
                <a:cubicBezTo>
                  <a:pt x="245563" y="54976"/>
                  <a:pt x="242371" y="49825"/>
                  <a:pt x="238575" y="46448"/>
                </a:cubicBezTo>
                <a:cubicBezTo>
                  <a:pt x="235205" y="43449"/>
                  <a:pt x="230570" y="41091"/>
                  <a:pt x="222974" y="41091"/>
                </a:cubicBezTo>
                <a:cubicBezTo>
                  <a:pt x="201987" y="41091"/>
                  <a:pt x="181183" y="48161"/>
                  <a:pt x="166010" y="59973"/>
                </a:cubicBezTo>
                <a:close/>
                <a:moveTo>
                  <a:pt x="294483" y="410749"/>
                </a:moveTo>
                <a:lnTo>
                  <a:pt x="294483" y="457820"/>
                </a:lnTo>
                <a:lnTo>
                  <a:pt x="294623" y="458192"/>
                </a:lnTo>
                <a:cubicBezTo>
                  <a:pt x="295190" y="459639"/>
                  <a:pt x="296214" y="461819"/>
                  <a:pt x="297800" y="464570"/>
                </a:cubicBezTo>
                <a:cubicBezTo>
                  <a:pt x="300962" y="470060"/>
                  <a:pt x="305786" y="476826"/>
                  <a:pt x="311999" y="483340"/>
                </a:cubicBezTo>
                <a:cubicBezTo>
                  <a:pt x="324756" y="496714"/>
                  <a:pt x="340831" y="506521"/>
                  <a:pt x="358281" y="506521"/>
                </a:cubicBezTo>
                <a:cubicBezTo>
                  <a:pt x="384376" y="506521"/>
                  <a:pt x="404207" y="493687"/>
                  <a:pt x="418145" y="476251"/>
                </a:cubicBezTo>
                <a:cubicBezTo>
                  <a:pt x="432600" y="458162"/>
                  <a:pt x="438950" y="437242"/>
                  <a:pt x="438950" y="425761"/>
                </a:cubicBezTo>
                <a:cubicBezTo>
                  <a:pt x="438950" y="414414"/>
                  <a:pt x="448149" y="405215"/>
                  <a:pt x="459496" y="405215"/>
                </a:cubicBezTo>
                <a:cubicBezTo>
                  <a:pt x="463011" y="405215"/>
                  <a:pt x="475138" y="402761"/>
                  <a:pt x="486183" y="393285"/>
                </a:cubicBezTo>
                <a:cubicBezTo>
                  <a:pt x="496248" y="384648"/>
                  <a:pt x="506427" y="369307"/>
                  <a:pt x="506427" y="341341"/>
                </a:cubicBezTo>
                <a:cubicBezTo>
                  <a:pt x="506427" y="308238"/>
                  <a:pt x="502091" y="291213"/>
                  <a:pt x="496867" y="282800"/>
                </a:cubicBezTo>
                <a:cubicBezTo>
                  <a:pt x="494598" y="279148"/>
                  <a:pt x="492254" y="277269"/>
                  <a:pt x="489742" y="276086"/>
                </a:cubicBezTo>
                <a:cubicBezTo>
                  <a:pt x="486961" y="274773"/>
                  <a:pt x="482808" y="273779"/>
                  <a:pt x="476365" y="273779"/>
                </a:cubicBezTo>
                <a:cubicBezTo>
                  <a:pt x="468791" y="273779"/>
                  <a:pt x="461830" y="269610"/>
                  <a:pt x="458252" y="262931"/>
                </a:cubicBezTo>
                <a:cubicBezTo>
                  <a:pt x="454677" y="256252"/>
                  <a:pt x="455066" y="248149"/>
                  <a:pt x="459266" y="241843"/>
                </a:cubicBezTo>
                <a:cubicBezTo>
                  <a:pt x="464972" y="233277"/>
                  <a:pt x="468599" y="220648"/>
                  <a:pt x="469284" y="205401"/>
                </a:cubicBezTo>
                <a:cubicBezTo>
                  <a:pt x="469960" y="190343"/>
                  <a:pt x="467684" y="174245"/>
                  <a:pt x="463128" y="160053"/>
                </a:cubicBezTo>
                <a:cubicBezTo>
                  <a:pt x="458485" y="145583"/>
                  <a:pt x="452036" y="134813"/>
                  <a:pt x="445700" y="128869"/>
                </a:cubicBezTo>
                <a:cubicBezTo>
                  <a:pt x="439986" y="123505"/>
                  <a:pt x="436025" y="123199"/>
                  <a:pt x="432261" y="124455"/>
                </a:cubicBezTo>
                <a:cubicBezTo>
                  <a:pt x="425996" y="126545"/>
                  <a:pt x="419106" y="125496"/>
                  <a:pt x="413748" y="121634"/>
                </a:cubicBezTo>
                <a:cubicBezTo>
                  <a:pt x="408390" y="117773"/>
                  <a:pt x="405212" y="111571"/>
                  <a:pt x="405212" y="104965"/>
                </a:cubicBezTo>
                <a:cubicBezTo>
                  <a:pt x="405212" y="87116"/>
                  <a:pt x="396460" y="71612"/>
                  <a:pt x="381508" y="59973"/>
                </a:cubicBezTo>
                <a:cubicBezTo>
                  <a:pt x="366334" y="48161"/>
                  <a:pt x="345532" y="41091"/>
                  <a:pt x="324545" y="41091"/>
                </a:cubicBezTo>
                <a:cubicBezTo>
                  <a:pt x="316949" y="41091"/>
                  <a:pt x="312314" y="43449"/>
                  <a:pt x="308944" y="46448"/>
                </a:cubicBezTo>
                <a:cubicBezTo>
                  <a:pt x="305147" y="49825"/>
                  <a:pt x="301956" y="54976"/>
                  <a:pt x="299501" y="61522"/>
                </a:cubicBezTo>
                <a:cubicBezTo>
                  <a:pt x="297083" y="67982"/>
                  <a:pt x="295781" y="74736"/>
                  <a:pt x="295116" y="80075"/>
                </a:cubicBezTo>
                <a:cubicBezTo>
                  <a:pt x="294787" y="82691"/>
                  <a:pt x="294628" y="84841"/>
                  <a:pt x="294551" y="86278"/>
                </a:cubicBezTo>
                <a:cubicBezTo>
                  <a:pt x="294513" y="86993"/>
                  <a:pt x="294497" y="87523"/>
                  <a:pt x="294488" y="87836"/>
                </a:cubicBezTo>
                <a:lnTo>
                  <a:pt x="294483" y="88147"/>
                </a:lnTo>
                <a:lnTo>
                  <a:pt x="294483" y="369658"/>
                </a:lnTo>
                <a:lnTo>
                  <a:pt x="311930" y="369658"/>
                </a:lnTo>
                <a:cubicBezTo>
                  <a:pt x="332355" y="369658"/>
                  <a:pt x="348912" y="353101"/>
                  <a:pt x="348912" y="332676"/>
                </a:cubicBezTo>
                <a:lnTo>
                  <a:pt x="348912" y="283493"/>
                </a:lnTo>
                <a:cubicBezTo>
                  <a:pt x="328832" y="275365"/>
                  <a:pt x="314669" y="255680"/>
                  <a:pt x="314669" y="232688"/>
                </a:cubicBezTo>
                <a:cubicBezTo>
                  <a:pt x="314669" y="202430"/>
                  <a:pt x="339198" y="177900"/>
                  <a:pt x="369457" y="177900"/>
                </a:cubicBezTo>
                <a:cubicBezTo>
                  <a:pt x="399717" y="177900"/>
                  <a:pt x="424245" y="202430"/>
                  <a:pt x="424245" y="232688"/>
                </a:cubicBezTo>
                <a:cubicBezTo>
                  <a:pt x="424245" y="255680"/>
                  <a:pt x="410083" y="275365"/>
                  <a:pt x="390003" y="283493"/>
                </a:cubicBezTo>
                <a:lnTo>
                  <a:pt x="390003" y="332676"/>
                </a:lnTo>
                <a:cubicBezTo>
                  <a:pt x="390003" y="375794"/>
                  <a:pt x="355048" y="410749"/>
                  <a:pt x="311930" y="410749"/>
                </a:cubicBezTo>
                <a:lnTo>
                  <a:pt x="294483" y="410749"/>
                </a:lnTo>
                <a:close/>
                <a:moveTo>
                  <a:pt x="177700" y="164203"/>
                </a:moveTo>
                <a:cubicBezTo>
                  <a:pt x="170135" y="164203"/>
                  <a:pt x="164003" y="170336"/>
                  <a:pt x="164003" y="177900"/>
                </a:cubicBezTo>
                <a:cubicBezTo>
                  <a:pt x="164003" y="185465"/>
                  <a:pt x="170135" y="191597"/>
                  <a:pt x="177700" y="191597"/>
                </a:cubicBezTo>
                <a:cubicBezTo>
                  <a:pt x="185264" y="191597"/>
                  <a:pt x="191397" y="185465"/>
                  <a:pt x="191397" y="177900"/>
                </a:cubicBezTo>
                <a:cubicBezTo>
                  <a:pt x="191397" y="170336"/>
                  <a:pt x="185264" y="164203"/>
                  <a:pt x="177700" y="164203"/>
                </a:cubicBezTo>
                <a:close/>
                <a:moveTo>
                  <a:pt x="164003" y="369658"/>
                </a:moveTo>
                <a:cubicBezTo>
                  <a:pt x="164003" y="377221"/>
                  <a:pt x="170135" y="383355"/>
                  <a:pt x="177700" y="383355"/>
                </a:cubicBezTo>
                <a:cubicBezTo>
                  <a:pt x="185264" y="383355"/>
                  <a:pt x="191397" y="377221"/>
                  <a:pt x="191397" y="369658"/>
                </a:cubicBezTo>
                <a:cubicBezTo>
                  <a:pt x="191397" y="362094"/>
                  <a:pt x="185264" y="355961"/>
                  <a:pt x="177700" y="355961"/>
                </a:cubicBezTo>
                <a:cubicBezTo>
                  <a:pt x="170135" y="355961"/>
                  <a:pt x="164003" y="362094"/>
                  <a:pt x="164003" y="369658"/>
                </a:cubicBezTo>
                <a:close/>
                <a:moveTo>
                  <a:pt x="355760" y="232688"/>
                </a:moveTo>
                <a:cubicBezTo>
                  <a:pt x="355760" y="240252"/>
                  <a:pt x="361894" y="246385"/>
                  <a:pt x="369457" y="246385"/>
                </a:cubicBezTo>
                <a:cubicBezTo>
                  <a:pt x="377021" y="246385"/>
                  <a:pt x="383154" y="240252"/>
                  <a:pt x="383154" y="232688"/>
                </a:cubicBezTo>
                <a:cubicBezTo>
                  <a:pt x="383154" y="225125"/>
                  <a:pt x="377021" y="218991"/>
                  <a:pt x="369457" y="218991"/>
                </a:cubicBezTo>
                <a:cubicBezTo>
                  <a:pt x="361894" y="218991"/>
                  <a:pt x="355760" y="225125"/>
                  <a:pt x="355760" y="232688"/>
                </a:cubicBezTo>
                <a:close/>
              </a:path>
            </a:pathLst>
          </a:custGeom>
          <a:solidFill>
            <a:schemeClr val="tx1"/>
          </a:soli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991D88B-7E37-CF32-7048-09A678157554}"/>
              </a:ext>
            </a:extLst>
          </p:cNvPr>
          <p:cNvSpPr txBox="1"/>
          <p:nvPr/>
        </p:nvSpPr>
        <p:spPr>
          <a:xfrm>
            <a:off x="9061212" y="4627651"/>
            <a:ext cx="1239122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400" dirty="0"/>
              <a:t>AI Model</a:t>
            </a:r>
          </a:p>
        </p:txBody>
      </p:sp>
      <p:sp>
        <p:nvSpPr>
          <p:cNvPr id="31" name="Speech Bubble: Rectangle with Corners Rounded 30">
            <a:extLst>
              <a:ext uri="{FF2B5EF4-FFF2-40B4-BE49-F238E27FC236}">
                <a16:creationId xmlns:a16="http://schemas.microsoft.com/office/drawing/2014/main" id="{E916E1EE-D7C3-DCA8-0489-92F8879440D0}"/>
              </a:ext>
            </a:extLst>
          </p:cNvPr>
          <p:cNvSpPr/>
          <p:nvPr/>
        </p:nvSpPr>
        <p:spPr>
          <a:xfrm>
            <a:off x="728186" y="3820143"/>
            <a:ext cx="914400" cy="270933"/>
          </a:xfrm>
          <a:prstGeom prst="wedgeRoundRectCallout">
            <a:avLst>
              <a:gd name="adj1" fmla="val -54166"/>
              <a:gd name="adj2" fmla="val 124163"/>
              <a:gd name="adj3" fmla="val 16667"/>
            </a:avLst>
          </a:prstGeom>
          <a:solidFill>
            <a:schemeClr val="accent5"/>
          </a:solidFill>
          <a:ln w="1162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32" name="Speech Bubble: Rectangle with Corners Rounded 31">
            <a:extLst>
              <a:ext uri="{FF2B5EF4-FFF2-40B4-BE49-F238E27FC236}">
                <a16:creationId xmlns:a16="http://schemas.microsoft.com/office/drawing/2014/main" id="{01BD345A-937B-C1C5-9938-E9B63D0821A9}"/>
              </a:ext>
            </a:extLst>
          </p:cNvPr>
          <p:cNvSpPr/>
          <p:nvPr/>
        </p:nvSpPr>
        <p:spPr>
          <a:xfrm flipH="1">
            <a:off x="1400392" y="4182977"/>
            <a:ext cx="914400" cy="270933"/>
          </a:xfrm>
          <a:prstGeom prst="wedgeRoundRectCallout">
            <a:avLst>
              <a:gd name="adj1" fmla="val -54166"/>
              <a:gd name="adj2" fmla="val 124163"/>
              <a:gd name="adj3" fmla="val 16667"/>
            </a:avLst>
          </a:prstGeom>
          <a:solidFill>
            <a:schemeClr val="accent5"/>
          </a:solidFill>
          <a:ln w="1162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788ED19-71F2-921B-FF19-6ACEB80BA616}"/>
              </a:ext>
            </a:extLst>
          </p:cNvPr>
          <p:cNvSpPr txBox="1"/>
          <p:nvPr/>
        </p:nvSpPr>
        <p:spPr>
          <a:xfrm>
            <a:off x="3160495" y="4442542"/>
            <a:ext cx="1520416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400" dirty="0"/>
              <a:t>WebSocket</a:t>
            </a:r>
          </a:p>
        </p:txBody>
      </p:sp>
    </p:spTree>
    <p:extLst>
      <p:ext uri="{BB962C8B-B14F-4D97-AF65-F5344CB8AC3E}">
        <p14:creationId xmlns:p14="http://schemas.microsoft.com/office/powerpoint/2010/main" val="346978646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AAB80BD-AF02-FA7B-3557-932B80ADC1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0676" y="422028"/>
            <a:ext cx="11018520" cy="553998"/>
          </a:xfrm>
        </p:spPr>
        <p:txBody>
          <a:bodyPr/>
          <a:lstStyle/>
          <a:p>
            <a:r>
              <a:rPr lang="en-US" sz="3600" dirty="0"/>
              <a:t>Reusable AI-powered Blazor components</a:t>
            </a:r>
          </a:p>
        </p:txBody>
      </p:sp>
      <p:grpSp>
        <p:nvGrpSpPr>
          <p:cNvPr id="24" name="Graphic 22" descr="Browser window outline">
            <a:extLst>
              <a:ext uri="{FF2B5EF4-FFF2-40B4-BE49-F238E27FC236}">
                <a16:creationId xmlns:a16="http://schemas.microsoft.com/office/drawing/2014/main" id="{F5604452-CA11-20A8-9FCE-86A194503D76}"/>
              </a:ext>
            </a:extLst>
          </p:cNvPr>
          <p:cNvGrpSpPr>
            <a:grpSpLocks noChangeAspect="1"/>
          </p:cNvGrpSpPr>
          <p:nvPr/>
        </p:nvGrpSpPr>
        <p:grpSpPr>
          <a:xfrm>
            <a:off x="3143250" y="1531762"/>
            <a:ext cx="5766031" cy="4468673"/>
            <a:chOff x="5715000" y="3133725"/>
            <a:chExt cx="762000" cy="590550"/>
          </a:xfrm>
          <a:solidFill>
            <a:schemeClr val="tx1"/>
          </a:solidFill>
        </p:grpSpPr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4F6DF58E-410F-20AC-5B05-39635145F6B2}"/>
                </a:ext>
              </a:extLst>
            </p:cNvPr>
            <p:cNvSpPr/>
            <p:nvPr/>
          </p:nvSpPr>
          <p:spPr>
            <a:xfrm>
              <a:off x="5715000" y="3133725"/>
              <a:ext cx="762000" cy="590550"/>
            </a:xfrm>
            <a:custGeom>
              <a:avLst/>
              <a:gdLst>
                <a:gd name="connsiteX0" fmla="*/ 0 w 762000"/>
                <a:gd name="connsiteY0" fmla="*/ 0 h 590550"/>
                <a:gd name="connsiteX1" fmla="*/ 0 w 762000"/>
                <a:gd name="connsiteY1" fmla="*/ 590550 h 590550"/>
                <a:gd name="connsiteX2" fmla="*/ 762000 w 762000"/>
                <a:gd name="connsiteY2" fmla="*/ 590550 h 590550"/>
                <a:gd name="connsiteX3" fmla="*/ 762000 w 762000"/>
                <a:gd name="connsiteY3" fmla="*/ 0 h 590550"/>
                <a:gd name="connsiteX4" fmla="*/ 742950 w 762000"/>
                <a:gd name="connsiteY4" fmla="*/ 19050 h 590550"/>
                <a:gd name="connsiteX5" fmla="*/ 742950 w 762000"/>
                <a:gd name="connsiteY5" fmla="*/ 142875 h 590550"/>
                <a:gd name="connsiteX6" fmla="*/ 19050 w 762000"/>
                <a:gd name="connsiteY6" fmla="*/ 142875 h 590550"/>
                <a:gd name="connsiteX7" fmla="*/ 19050 w 762000"/>
                <a:gd name="connsiteY7" fmla="*/ 19050 h 590550"/>
                <a:gd name="connsiteX8" fmla="*/ 19050 w 762000"/>
                <a:gd name="connsiteY8" fmla="*/ 571500 h 590550"/>
                <a:gd name="connsiteX9" fmla="*/ 19050 w 762000"/>
                <a:gd name="connsiteY9" fmla="*/ 161925 h 590550"/>
                <a:gd name="connsiteX10" fmla="*/ 742950 w 762000"/>
                <a:gd name="connsiteY10" fmla="*/ 161925 h 590550"/>
                <a:gd name="connsiteX11" fmla="*/ 742950 w 762000"/>
                <a:gd name="connsiteY11" fmla="*/ 571500 h 590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62000" h="590550">
                  <a:moveTo>
                    <a:pt x="0" y="0"/>
                  </a:moveTo>
                  <a:lnTo>
                    <a:pt x="0" y="590550"/>
                  </a:lnTo>
                  <a:lnTo>
                    <a:pt x="762000" y="590550"/>
                  </a:lnTo>
                  <a:lnTo>
                    <a:pt x="762000" y="0"/>
                  </a:lnTo>
                  <a:close/>
                  <a:moveTo>
                    <a:pt x="742950" y="19050"/>
                  </a:moveTo>
                  <a:lnTo>
                    <a:pt x="742950" y="142875"/>
                  </a:lnTo>
                  <a:lnTo>
                    <a:pt x="19050" y="142875"/>
                  </a:lnTo>
                  <a:lnTo>
                    <a:pt x="19050" y="19050"/>
                  </a:lnTo>
                  <a:close/>
                  <a:moveTo>
                    <a:pt x="19050" y="571500"/>
                  </a:moveTo>
                  <a:lnTo>
                    <a:pt x="19050" y="161925"/>
                  </a:lnTo>
                  <a:lnTo>
                    <a:pt x="742950" y="161925"/>
                  </a:lnTo>
                  <a:lnTo>
                    <a:pt x="742950" y="57150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F93DEDD4-3B20-84B2-7294-0DFEE3115280}"/>
                </a:ext>
              </a:extLst>
            </p:cNvPr>
            <p:cNvSpPr/>
            <p:nvPr/>
          </p:nvSpPr>
          <p:spPr>
            <a:xfrm>
              <a:off x="6219825" y="3190875"/>
              <a:ext cx="38100" cy="38100"/>
            </a:xfrm>
            <a:custGeom>
              <a:avLst/>
              <a:gdLst>
                <a:gd name="connsiteX0" fmla="*/ 38100 w 38100"/>
                <a:gd name="connsiteY0" fmla="*/ 19050 h 38100"/>
                <a:gd name="connsiteX1" fmla="*/ 19050 w 38100"/>
                <a:gd name="connsiteY1" fmla="*/ 38100 h 38100"/>
                <a:gd name="connsiteX2" fmla="*/ 0 w 38100"/>
                <a:gd name="connsiteY2" fmla="*/ 19050 h 38100"/>
                <a:gd name="connsiteX3" fmla="*/ 19050 w 38100"/>
                <a:gd name="connsiteY3" fmla="*/ 0 h 38100"/>
                <a:gd name="connsiteX4" fmla="*/ 38100 w 38100"/>
                <a:gd name="connsiteY4" fmla="*/ 1905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8100" y="19050"/>
                  </a:moveTo>
                  <a:cubicBezTo>
                    <a:pt x="38100" y="29571"/>
                    <a:pt x="29571" y="38100"/>
                    <a:pt x="19050" y="38100"/>
                  </a:cubicBezTo>
                  <a:cubicBezTo>
                    <a:pt x="8529" y="38100"/>
                    <a:pt x="0" y="29571"/>
                    <a:pt x="0" y="19050"/>
                  </a:cubicBezTo>
                  <a:cubicBezTo>
                    <a:pt x="0" y="8529"/>
                    <a:pt x="8529" y="0"/>
                    <a:pt x="19050" y="0"/>
                  </a:cubicBezTo>
                  <a:cubicBezTo>
                    <a:pt x="29571" y="0"/>
                    <a:pt x="38100" y="8529"/>
                    <a:pt x="38100" y="190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E7AB6B27-7DA1-F07A-019E-459D7C5C5A79}"/>
                </a:ext>
              </a:extLst>
            </p:cNvPr>
            <p:cNvSpPr/>
            <p:nvPr/>
          </p:nvSpPr>
          <p:spPr>
            <a:xfrm>
              <a:off x="6286500" y="3190875"/>
              <a:ext cx="38100" cy="38100"/>
            </a:xfrm>
            <a:custGeom>
              <a:avLst/>
              <a:gdLst>
                <a:gd name="connsiteX0" fmla="*/ 38100 w 38100"/>
                <a:gd name="connsiteY0" fmla="*/ 19050 h 38100"/>
                <a:gd name="connsiteX1" fmla="*/ 19050 w 38100"/>
                <a:gd name="connsiteY1" fmla="*/ 38100 h 38100"/>
                <a:gd name="connsiteX2" fmla="*/ 0 w 38100"/>
                <a:gd name="connsiteY2" fmla="*/ 19050 h 38100"/>
                <a:gd name="connsiteX3" fmla="*/ 19050 w 38100"/>
                <a:gd name="connsiteY3" fmla="*/ 0 h 38100"/>
                <a:gd name="connsiteX4" fmla="*/ 38100 w 38100"/>
                <a:gd name="connsiteY4" fmla="*/ 1905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8100" y="19050"/>
                  </a:moveTo>
                  <a:cubicBezTo>
                    <a:pt x="38100" y="29571"/>
                    <a:pt x="29571" y="38100"/>
                    <a:pt x="19050" y="38100"/>
                  </a:cubicBezTo>
                  <a:cubicBezTo>
                    <a:pt x="8529" y="38100"/>
                    <a:pt x="0" y="29571"/>
                    <a:pt x="0" y="19050"/>
                  </a:cubicBezTo>
                  <a:cubicBezTo>
                    <a:pt x="0" y="8529"/>
                    <a:pt x="8529" y="0"/>
                    <a:pt x="19050" y="0"/>
                  </a:cubicBezTo>
                  <a:cubicBezTo>
                    <a:pt x="29571" y="0"/>
                    <a:pt x="38100" y="8529"/>
                    <a:pt x="38100" y="190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1A257FC2-CB3E-3713-B8F0-9D0E9CDD87D0}"/>
                </a:ext>
              </a:extLst>
            </p:cNvPr>
            <p:cNvSpPr/>
            <p:nvPr/>
          </p:nvSpPr>
          <p:spPr>
            <a:xfrm>
              <a:off x="6353175" y="3190875"/>
              <a:ext cx="38100" cy="38100"/>
            </a:xfrm>
            <a:custGeom>
              <a:avLst/>
              <a:gdLst>
                <a:gd name="connsiteX0" fmla="*/ 38100 w 38100"/>
                <a:gd name="connsiteY0" fmla="*/ 19050 h 38100"/>
                <a:gd name="connsiteX1" fmla="*/ 19050 w 38100"/>
                <a:gd name="connsiteY1" fmla="*/ 38100 h 38100"/>
                <a:gd name="connsiteX2" fmla="*/ 0 w 38100"/>
                <a:gd name="connsiteY2" fmla="*/ 19050 h 38100"/>
                <a:gd name="connsiteX3" fmla="*/ 19050 w 38100"/>
                <a:gd name="connsiteY3" fmla="*/ 0 h 38100"/>
                <a:gd name="connsiteX4" fmla="*/ 38100 w 38100"/>
                <a:gd name="connsiteY4" fmla="*/ 1905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8100" y="19050"/>
                  </a:moveTo>
                  <a:cubicBezTo>
                    <a:pt x="38100" y="29571"/>
                    <a:pt x="29571" y="38100"/>
                    <a:pt x="19050" y="38100"/>
                  </a:cubicBezTo>
                  <a:cubicBezTo>
                    <a:pt x="8529" y="38100"/>
                    <a:pt x="0" y="29571"/>
                    <a:pt x="0" y="19050"/>
                  </a:cubicBezTo>
                  <a:cubicBezTo>
                    <a:pt x="0" y="8529"/>
                    <a:pt x="8529" y="0"/>
                    <a:pt x="19050" y="0"/>
                  </a:cubicBezTo>
                  <a:cubicBezTo>
                    <a:pt x="29571" y="0"/>
                    <a:pt x="38100" y="8529"/>
                    <a:pt x="38100" y="190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CD23C91-1F19-2033-0F82-1791041E6E24}"/>
              </a:ext>
            </a:extLst>
          </p:cNvPr>
          <p:cNvGrpSpPr/>
          <p:nvPr/>
        </p:nvGrpSpPr>
        <p:grpSpPr>
          <a:xfrm>
            <a:off x="7392552" y="2808730"/>
            <a:ext cx="1314450" cy="3019425"/>
            <a:chOff x="7392552" y="2808730"/>
            <a:chExt cx="1314450" cy="3019425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9541F342-707C-99B1-9361-7112D8D1964F}"/>
                </a:ext>
              </a:extLst>
            </p:cNvPr>
            <p:cNvSpPr/>
            <p:nvPr/>
          </p:nvSpPr>
          <p:spPr>
            <a:xfrm>
              <a:off x="7392552" y="2808730"/>
              <a:ext cx="1314450" cy="3019425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11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/>
              <a:endParaRPr lang="en-US"/>
            </a:p>
          </p:txBody>
        </p:sp>
        <p:sp>
          <p:nvSpPr>
            <p:cNvPr id="31" name="Speech Bubble: Rectangle with Corners Rounded 30">
              <a:extLst>
                <a:ext uri="{FF2B5EF4-FFF2-40B4-BE49-F238E27FC236}">
                  <a16:creationId xmlns:a16="http://schemas.microsoft.com/office/drawing/2014/main" id="{E916E1EE-D7C3-DCA8-0489-92F8879440D0}"/>
                </a:ext>
              </a:extLst>
            </p:cNvPr>
            <p:cNvSpPr/>
            <p:nvPr/>
          </p:nvSpPr>
          <p:spPr>
            <a:xfrm>
              <a:off x="7592577" y="3030556"/>
              <a:ext cx="914400" cy="270933"/>
            </a:xfrm>
            <a:prstGeom prst="wedgeRoundRectCallout">
              <a:avLst>
                <a:gd name="adj1" fmla="val -54166"/>
                <a:gd name="adj2" fmla="val 124163"/>
                <a:gd name="adj3" fmla="val 16667"/>
              </a:avLst>
            </a:prstGeom>
            <a:solidFill>
              <a:schemeClr val="accent5"/>
            </a:solidFill>
            <a:ln w="11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/>
              <a:endParaRPr lang="en-US"/>
            </a:p>
          </p:txBody>
        </p:sp>
        <p:sp>
          <p:nvSpPr>
            <p:cNvPr id="32" name="Speech Bubble: Rectangle with Corners Rounded 31">
              <a:extLst>
                <a:ext uri="{FF2B5EF4-FFF2-40B4-BE49-F238E27FC236}">
                  <a16:creationId xmlns:a16="http://schemas.microsoft.com/office/drawing/2014/main" id="{01BD345A-937B-C1C5-9938-E9B63D0821A9}"/>
                </a:ext>
              </a:extLst>
            </p:cNvPr>
            <p:cNvSpPr/>
            <p:nvPr/>
          </p:nvSpPr>
          <p:spPr>
            <a:xfrm flipH="1">
              <a:off x="7611924" y="3630631"/>
              <a:ext cx="914400" cy="388919"/>
            </a:xfrm>
            <a:prstGeom prst="wedgeRoundRectCallout">
              <a:avLst>
                <a:gd name="adj1" fmla="val -54166"/>
                <a:gd name="adj2" fmla="val 124163"/>
                <a:gd name="adj3" fmla="val 16667"/>
              </a:avLst>
            </a:prstGeom>
            <a:solidFill>
              <a:schemeClr val="accent5"/>
            </a:solidFill>
            <a:ln w="11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/>
              <a:endParaRPr lang="en-US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3A5E04D-999D-A552-611F-1F65D3B1A085}"/>
              </a:ext>
            </a:extLst>
          </p:cNvPr>
          <p:cNvGrpSpPr/>
          <p:nvPr/>
        </p:nvGrpSpPr>
        <p:grpSpPr>
          <a:xfrm>
            <a:off x="4019549" y="3020164"/>
            <a:ext cx="2828925" cy="332599"/>
            <a:chOff x="4019550" y="2858276"/>
            <a:chExt cx="2828925" cy="332599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2BDCE480-41AE-334B-D3AC-F3C35753C782}"/>
                </a:ext>
              </a:extLst>
            </p:cNvPr>
            <p:cNvSpPr/>
            <p:nvPr/>
          </p:nvSpPr>
          <p:spPr>
            <a:xfrm>
              <a:off x="4019550" y="2858276"/>
              <a:ext cx="2828925" cy="332599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11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/>
              <a:r>
                <a:rPr lang="en-US" dirty="0">
                  <a:solidFill>
                    <a:schemeClr val="bg1"/>
                  </a:solidFill>
                </a:rPr>
                <a:t>________________________</a:t>
              </a:r>
            </a:p>
          </p:txBody>
        </p:sp>
        <p:pic>
          <p:nvPicPr>
            <p:cNvPr id="6" name="Graphic 5" descr="Magnifying glass with solid fill">
              <a:extLst>
                <a:ext uri="{FF2B5EF4-FFF2-40B4-BE49-F238E27FC236}">
                  <a16:creationId xmlns:a16="http://schemas.microsoft.com/office/drawing/2014/main" id="{F132D7C5-2BF0-548B-3EF8-815F8338585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496049" y="2912368"/>
              <a:ext cx="224413" cy="224413"/>
            </a:xfrm>
            <a:prstGeom prst="rect">
              <a:avLst/>
            </a:prstGeom>
          </p:spPr>
        </p:pic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F1FDDD3-18B4-B37A-BACC-E2D57B400C8A}"/>
              </a:ext>
            </a:extLst>
          </p:cNvPr>
          <p:cNvGrpSpPr/>
          <p:nvPr/>
        </p:nvGrpSpPr>
        <p:grpSpPr>
          <a:xfrm>
            <a:off x="4019548" y="3630631"/>
            <a:ext cx="2828927" cy="1870754"/>
            <a:chOff x="4019548" y="3455483"/>
            <a:chExt cx="2828927" cy="1870754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3457086-9BF0-587B-C69A-0948F2731967}"/>
                </a:ext>
              </a:extLst>
            </p:cNvPr>
            <p:cNvSpPr/>
            <p:nvPr/>
          </p:nvSpPr>
          <p:spPr>
            <a:xfrm>
              <a:off x="4019550" y="4197498"/>
              <a:ext cx="2828925" cy="639781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162" cap="flat">
              <a:noFill/>
              <a:prstDash val="solid"/>
              <a:miter/>
            </a:ln>
          </p:spPr>
          <p:txBody>
            <a:bodyPr rtlCol="0" anchor="t"/>
            <a:lstStyle/>
            <a:p>
              <a:pPr algn="l"/>
              <a:r>
                <a:rPr lang="en-US" sz="10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he refund policy is located|</a:t>
              </a:r>
              <a:r>
                <a:rPr lang="en-US" sz="1000" dirty="0">
                  <a:solidFill>
                    <a:schemeClr val="bg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lang="en-US" sz="1000" dirty="0">
                  <a:solidFill>
                    <a:schemeClr val="tx2">
                      <a:lumMod val="10000"/>
                      <a:lumOff val="90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t https://example.com/refund-policy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189C869A-DCFC-5867-298C-CB0EDBC962BD}"/>
                </a:ext>
              </a:extLst>
            </p:cNvPr>
            <p:cNvSpPr/>
            <p:nvPr/>
          </p:nvSpPr>
          <p:spPr>
            <a:xfrm>
              <a:off x="6181725" y="5114924"/>
              <a:ext cx="666750" cy="21131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1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92F4B90-77FE-DCC8-75B8-438B34821B6E}"/>
                </a:ext>
              </a:extLst>
            </p:cNvPr>
            <p:cNvSpPr/>
            <p:nvPr/>
          </p:nvSpPr>
          <p:spPr>
            <a:xfrm>
              <a:off x="4019549" y="3455483"/>
              <a:ext cx="1733847" cy="21131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1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EEE7234-D86E-418F-3E2B-53873628438C}"/>
                </a:ext>
              </a:extLst>
            </p:cNvPr>
            <p:cNvSpPr/>
            <p:nvPr/>
          </p:nvSpPr>
          <p:spPr>
            <a:xfrm>
              <a:off x="5934075" y="3455483"/>
              <a:ext cx="914400" cy="21131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1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9795C395-85B0-7C6E-5EA4-180341BF105E}"/>
                </a:ext>
              </a:extLst>
            </p:cNvPr>
            <p:cNvSpPr/>
            <p:nvPr/>
          </p:nvSpPr>
          <p:spPr>
            <a:xfrm>
              <a:off x="4019548" y="3766098"/>
              <a:ext cx="1187451" cy="21131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1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/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8017806-00EE-0006-BABB-21F1E7AAD0D1}"/>
                </a:ext>
              </a:extLst>
            </p:cNvPr>
            <p:cNvSpPr/>
            <p:nvPr/>
          </p:nvSpPr>
          <p:spPr>
            <a:xfrm>
              <a:off x="5267325" y="3766098"/>
              <a:ext cx="1578830" cy="21131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1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/>
              <a:endParaRPr lang="en-US"/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DC9E90E5-1D93-BF30-038C-F8BA5783D64B}"/>
              </a:ext>
            </a:extLst>
          </p:cNvPr>
          <p:cNvGrpSpPr/>
          <p:nvPr/>
        </p:nvGrpSpPr>
        <p:grpSpPr>
          <a:xfrm>
            <a:off x="8526324" y="3654125"/>
            <a:ext cx="1791243" cy="498434"/>
            <a:chOff x="8526324" y="3654125"/>
            <a:chExt cx="1791243" cy="498434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BCB09A0-7078-0F29-710B-9960834394FB}"/>
                </a:ext>
              </a:extLst>
            </p:cNvPr>
            <p:cNvSpPr txBox="1"/>
            <p:nvPr/>
          </p:nvSpPr>
          <p:spPr>
            <a:xfrm>
              <a:off x="9440724" y="3654125"/>
              <a:ext cx="876843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20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hat UI</a:t>
              </a: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B9DD743B-164B-EA15-F544-BD9F84A1AC1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526324" y="3825090"/>
              <a:ext cx="789126" cy="327469"/>
            </a:xfrm>
            <a:prstGeom prst="line">
              <a:avLst/>
            </a:prstGeom>
            <a:ln w="28575">
              <a:solidFill>
                <a:schemeClr val="accent6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1F4B2C62-350C-152B-6494-51CC4074B5A1}"/>
              </a:ext>
            </a:extLst>
          </p:cNvPr>
          <p:cNvGrpSpPr/>
          <p:nvPr/>
        </p:nvGrpSpPr>
        <p:grpSpPr>
          <a:xfrm>
            <a:off x="1277283" y="2585421"/>
            <a:ext cx="2932767" cy="615553"/>
            <a:chOff x="1277283" y="2585421"/>
            <a:chExt cx="2932767" cy="615553"/>
          </a:xfrm>
        </p:grpSpPr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BC008D65-D84B-6BB9-C4F3-A963AEE935D5}"/>
                </a:ext>
              </a:extLst>
            </p:cNvPr>
            <p:cNvSpPr txBox="1"/>
            <p:nvPr/>
          </p:nvSpPr>
          <p:spPr>
            <a:xfrm>
              <a:off x="1277283" y="2585421"/>
              <a:ext cx="1099660" cy="6155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20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emantic</a:t>
              </a:r>
            </a:p>
            <a:p>
              <a:pPr algn="ctr"/>
              <a:r>
                <a:rPr lang="en-US" sz="20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search</a:t>
              </a:r>
            </a:p>
          </p:txBody>
        </p: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F28ADB36-61D1-3F20-0AF4-2AAD506E3E3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526457" y="2934316"/>
              <a:ext cx="1683593" cy="231706"/>
            </a:xfrm>
            <a:prstGeom prst="line">
              <a:avLst/>
            </a:prstGeom>
            <a:ln w="28575">
              <a:solidFill>
                <a:schemeClr val="accent6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B63A93C1-DA4F-163C-EB51-0ED525ADA835}"/>
              </a:ext>
            </a:extLst>
          </p:cNvPr>
          <p:cNvGrpSpPr/>
          <p:nvPr/>
        </p:nvGrpSpPr>
        <p:grpSpPr>
          <a:xfrm>
            <a:off x="1171021" y="4810369"/>
            <a:ext cx="3039029" cy="641809"/>
            <a:chOff x="1171021" y="4810369"/>
            <a:chExt cx="3039029" cy="641809"/>
          </a:xfrm>
        </p:grpSpPr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3ACBBF2D-43B7-0DDC-E97C-B7A83986F221}"/>
                </a:ext>
              </a:extLst>
            </p:cNvPr>
            <p:cNvSpPr txBox="1"/>
            <p:nvPr/>
          </p:nvSpPr>
          <p:spPr>
            <a:xfrm>
              <a:off x="1171021" y="4836625"/>
              <a:ext cx="1534079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ext suggestions</a:t>
              </a:r>
            </a:p>
          </p:txBody>
        </p: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8733A195-8FEC-6E1D-C4E4-D42C979E0D2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675971" y="4810369"/>
              <a:ext cx="1534079" cy="243176"/>
            </a:xfrm>
            <a:prstGeom prst="line">
              <a:avLst/>
            </a:prstGeom>
            <a:ln w="28575">
              <a:solidFill>
                <a:schemeClr val="accent6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23751404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02126D-59EF-D780-03B5-076DBCF65E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2684" y="2485571"/>
            <a:ext cx="4973143" cy="1571264"/>
          </a:xfrm>
        </p:spPr>
        <p:txBody>
          <a:bodyPr/>
          <a:lstStyle/>
          <a:p>
            <a:r>
              <a:rPr lang="en-US" dirty="0"/>
              <a:t>Demo:</a:t>
            </a:r>
            <a:br>
              <a:rPr lang="en-US" dirty="0"/>
            </a:br>
            <a:r>
              <a:rPr lang="en-US" dirty="0"/>
              <a:t>Get started with Blazor &amp; AI</a:t>
            </a:r>
          </a:p>
        </p:txBody>
      </p:sp>
    </p:spTree>
    <p:extLst>
      <p:ext uri="{BB962C8B-B14F-4D97-AF65-F5344CB8AC3E}">
        <p14:creationId xmlns:p14="http://schemas.microsoft.com/office/powerpoint/2010/main" val="3458210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41FAD09-30CE-3216-0C3B-9AB3A6AACC9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38469" y="2697756"/>
            <a:ext cx="2915060" cy="276999"/>
          </a:xfrm>
        </p:spPr>
        <p:txBody>
          <a:bodyPr/>
          <a:lstStyle/>
          <a:p>
            <a:r>
              <a:rPr lang="en-US" dirty="0"/>
              <a:t>Smart </a:t>
            </a:r>
            <a:r>
              <a:rPr lang="en-US" dirty="0" err="1"/>
              <a:t>TextArea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38BFF6D-C3CB-CE1E-C7E5-3EAE4DA230D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8469" y="3454284"/>
            <a:ext cx="2915060" cy="984885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sz="1600" dirty="0"/>
              <a:t>Suggest whole sentence autocompletions based on what the user is currently typing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FFE80CD-E707-0678-9305-B3EAB7C5E6D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435554" y="2697756"/>
            <a:ext cx="2915060" cy="276999"/>
          </a:xfrm>
        </p:spPr>
        <p:txBody>
          <a:bodyPr/>
          <a:lstStyle/>
          <a:p>
            <a:r>
              <a:rPr lang="en-US" dirty="0"/>
              <a:t>Smart </a:t>
            </a:r>
            <a:r>
              <a:rPr lang="en-US" dirty="0" err="1"/>
              <a:t>ComboBox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752FCE1-4172-3BFB-B4BC-7B9D5F67CE9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435554" y="3454284"/>
            <a:ext cx="2915060" cy="430887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sz="1600" dirty="0"/>
              <a:t>Search through listed items using semantic matches.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EF60DB-CA20-F9BC-1F5B-8F8D79E3D6F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41384" y="2697756"/>
            <a:ext cx="2915060" cy="276999"/>
          </a:xfrm>
        </p:spPr>
        <p:txBody>
          <a:bodyPr/>
          <a:lstStyle/>
          <a:p>
            <a:r>
              <a:rPr lang="en-US" dirty="0"/>
              <a:t>Smart Past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2860310-6846-9909-36C0-37351E6B4BF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41384" y="3454284"/>
            <a:ext cx="2915060" cy="738664"/>
          </a:xfrm>
        </p:spPr>
        <p:txBody>
          <a:bodyPr/>
          <a:lstStyle/>
          <a:p>
            <a:r>
              <a:rPr lang="en-US" sz="1600" dirty="0"/>
              <a:t>Fill out forms automatically using data from the user's clipboard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AAB80BD-AF02-FA7B-3557-932B80ADC1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.NET Smart Component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6B44F02-C4E6-B5D6-B4F4-80A57A871731}"/>
              </a:ext>
            </a:extLst>
          </p:cNvPr>
          <p:cNvSpPr txBox="1"/>
          <p:nvPr/>
        </p:nvSpPr>
        <p:spPr>
          <a:xfrm>
            <a:off x="4016070" y="5877292"/>
            <a:ext cx="4159857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000" b="1" dirty="0"/>
              <a:t>aka.ms/dotnet/smart-components</a:t>
            </a:r>
          </a:p>
        </p:txBody>
      </p:sp>
    </p:spTree>
    <p:extLst>
      <p:ext uri="{BB962C8B-B14F-4D97-AF65-F5344CB8AC3E}">
        <p14:creationId xmlns:p14="http://schemas.microsoft.com/office/powerpoint/2010/main" val="4204802733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02126D-59EF-D780-03B5-076DBCF65E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2684" y="2485571"/>
            <a:ext cx="6295316" cy="1571264"/>
          </a:xfrm>
        </p:spPr>
        <p:txBody>
          <a:bodyPr/>
          <a:lstStyle/>
          <a:p>
            <a:r>
              <a:rPr lang="en-US" dirty="0"/>
              <a:t>Demo:</a:t>
            </a:r>
            <a:br>
              <a:rPr lang="en-US" dirty="0"/>
            </a:br>
            <a:r>
              <a:rPr lang="en-US" dirty="0"/>
              <a:t>.NET Smart Components</a:t>
            </a:r>
          </a:p>
        </p:txBody>
      </p:sp>
    </p:spTree>
    <p:extLst>
      <p:ext uri="{BB962C8B-B14F-4D97-AF65-F5344CB8AC3E}">
        <p14:creationId xmlns:p14="http://schemas.microsoft.com/office/powerpoint/2010/main" val="4272330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EBA1DDEF-196A-2059-BE30-4567F8EABB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754" y="910732"/>
            <a:ext cx="11060491" cy="830997"/>
          </a:xfrm>
        </p:spPr>
        <p:txBody>
          <a:bodyPr/>
          <a:lstStyle/>
          <a:p>
            <a:r>
              <a:rPr lang="en-US" dirty="0"/>
              <a:t>.NET AI ecosystem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6B01113F-4003-AB82-284B-89B4C2492C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52799" y="2701852"/>
            <a:ext cx="5486400" cy="82296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A9183CFE-BCBA-4BDE-6603-2773D8247A5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779518" y="3854798"/>
            <a:ext cx="4632962" cy="1097280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8AAFA2C0-22B7-2EBC-2B6E-C032BC9B98E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094480" y="5096016"/>
            <a:ext cx="4003038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0207092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E415A8-5761-43D1-9DBE-C48854D87D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11314044" cy="1139825"/>
          </a:xfrm>
        </p:spPr>
        <p:txBody>
          <a:bodyPr/>
          <a:lstStyle/>
          <a:p>
            <a:r>
              <a:rPr lang="en-US" sz="3400" b="1" i="0" dirty="0">
                <a:solidFill>
                  <a:srgbClr val="000000"/>
                </a:solidFill>
                <a:effectLst/>
                <a:latin typeface="+mn-lt"/>
              </a:rPr>
              <a:t>AI Prompt component – Blendin</a:t>
            </a:r>
            <a:r>
              <a:rPr lang="en-US" sz="3400" b="1" dirty="0">
                <a:solidFill>
                  <a:srgbClr val="000000"/>
                </a:solidFill>
                <a:latin typeface="+mn-lt"/>
              </a:rPr>
              <a:t>g </a:t>
            </a:r>
            <a:r>
              <a:rPr lang="en-US" sz="3400" dirty="0">
                <a:solidFill>
                  <a:srgbClr val="000000"/>
                </a:solidFill>
                <a:latin typeface="+mn-lt"/>
              </a:rPr>
              <a:t>AI with UI</a:t>
            </a:r>
            <a:br>
              <a:rPr lang="en-US" dirty="0"/>
            </a:br>
            <a:r>
              <a:rPr lang="en-US" sz="2800" dirty="0">
                <a:solidFill>
                  <a:schemeClr val="accent1"/>
                </a:solidFill>
              </a:rPr>
              <a:t>Available NOW for Telerik .NET MVC &amp; Blazo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AA4587-0D77-4CAA-981F-52092AC3EFE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313" y="1798635"/>
            <a:ext cx="6499269" cy="4365625"/>
          </a:xfrm>
        </p:spPr>
        <p:txBody>
          <a:bodyPr/>
          <a:lstStyle/>
          <a:p>
            <a:r>
              <a:rPr lang="en-US" sz="2000" dirty="0"/>
              <a:t>Created to streamline the integration of your favorite </a:t>
            </a:r>
            <a:r>
              <a:rPr lang="en-US" sz="2000" dirty="0" err="1"/>
              <a:t>GenAI</a:t>
            </a:r>
            <a:r>
              <a:rPr lang="en-US" sz="2000" dirty="0"/>
              <a:t> services into your apps</a:t>
            </a:r>
          </a:p>
          <a:p>
            <a:r>
              <a:rPr lang="en-US" sz="2000" dirty="0"/>
              <a:t>The component sends prompts from the UI and then maps the responses back to the UI</a:t>
            </a:r>
          </a:p>
          <a:p>
            <a:r>
              <a:rPr lang="en-US" sz="2000" dirty="0"/>
              <a:t>Enables three predefined views to interact with: </a:t>
            </a:r>
          </a:p>
          <a:p>
            <a:pPr lvl="1"/>
            <a:r>
              <a:rPr lang="en-US" sz="1600" dirty="0"/>
              <a:t>Prompt, </a:t>
            </a:r>
          </a:p>
          <a:p>
            <a:pPr lvl="1"/>
            <a:r>
              <a:rPr lang="en-US" sz="1600" dirty="0"/>
              <a:t>Output </a:t>
            </a:r>
          </a:p>
          <a:p>
            <a:pPr lvl="1"/>
            <a:r>
              <a:rPr lang="en-US" sz="1600" dirty="0"/>
              <a:t>and Command</a:t>
            </a:r>
          </a:p>
          <a:p>
            <a:r>
              <a:rPr lang="en-US" sz="2000" dirty="0"/>
              <a:t>Fully customizable with templates and events</a:t>
            </a:r>
          </a:p>
          <a:p>
            <a:r>
              <a:rPr lang="en-US" sz="20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Metric"/>
              </a:rPr>
              <a:t>Globalization and Localization</a:t>
            </a:r>
          </a:p>
          <a:p>
            <a:r>
              <a:rPr lang="en-US" sz="20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Metric"/>
              </a:rPr>
              <a:t>Right-to-Left (RTL) Support</a:t>
            </a:r>
          </a:p>
          <a:p>
            <a:endParaRPr lang="en-US" sz="2000" dirty="0"/>
          </a:p>
        </p:txBody>
      </p:sp>
      <p:pic>
        <p:nvPicPr>
          <p:cNvPr id="2050" name="Picture 2" descr="Telerik UI for Blazor AIPrompt-GettingStarted">
            <a:extLst>
              <a:ext uri="{FF2B5EF4-FFF2-40B4-BE49-F238E27FC236}">
                <a16:creationId xmlns:a16="http://schemas.microsoft.com/office/drawing/2014/main" id="{4A2490BB-AEAD-889F-1BA8-15AFDFCA54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8761" y="1798635"/>
            <a:ext cx="4421275" cy="3657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C1DB940-9ED8-8158-7C01-FDFD425CB563}"/>
              </a:ext>
            </a:extLst>
          </p:cNvPr>
          <p:cNvSpPr txBox="1"/>
          <p:nvPr/>
        </p:nvSpPr>
        <p:spPr>
          <a:xfrm>
            <a:off x="3048646" y="6164260"/>
            <a:ext cx="6094708" cy="523220"/>
          </a:xfrm>
          <a:prstGeom prst="rect">
            <a:avLst/>
          </a:prstGeom>
          <a:solidFill>
            <a:schemeClr val="accent6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4EA72E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elerik.com/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srgbClr val="4EA72E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lazor-ui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4EA72E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/ai-prompt</a:t>
            </a:r>
          </a:p>
        </p:txBody>
      </p:sp>
    </p:spTree>
    <p:extLst>
      <p:ext uri="{BB962C8B-B14F-4D97-AF65-F5344CB8AC3E}">
        <p14:creationId xmlns:p14="http://schemas.microsoft.com/office/powerpoint/2010/main" val="21084623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B2B2B2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B2B2B2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B2B2B2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B2B2B2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B2B2B2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B2B2B2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B2B2B2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B2B2B2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B2B2B2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zure 2023 Template">
  <a:themeElements>
    <a:clrScheme name="Custom 22">
      <a:dk1>
        <a:srgbClr val="333333"/>
      </a:dk1>
      <a:lt1>
        <a:srgbClr val="FFFFFF"/>
      </a:lt1>
      <a:dk2>
        <a:srgbClr val="190449"/>
      </a:dk2>
      <a:lt2>
        <a:srgbClr val="FAFAFA"/>
      </a:lt2>
      <a:accent1>
        <a:srgbClr val="4F2BD3"/>
      </a:accent1>
      <a:accent2>
        <a:srgbClr val="D502A9"/>
      </a:accent2>
      <a:accent3>
        <a:srgbClr val="FA94A1"/>
      </a:accent3>
      <a:accent4>
        <a:srgbClr val="CB4150"/>
      </a:accent4>
      <a:accent5>
        <a:srgbClr val="E672CB"/>
      </a:accent5>
      <a:accent6>
        <a:srgbClr val="0B6BFF"/>
      </a:accent6>
      <a:hlink>
        <a:srgbClr val="502AD4"/>
      </a:hlink>
      <a:folHlink>
        <a:srgbClr val="D502AA"/>
      </a:folHlink>
    </a:clrScheme>
    <a:fontScheme name="Custom 4">
      <a:majorFont>
        <a:latin typeface="Segoe Sans Text Semibold"/>
        <a:ea typeface=""/>
        <a:cs typeface=""/>
      </a:majorFont>
      <a:minorFont>
        <a:latin typeface="Segoe Sans Tex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>
          <a:gsLst>
            <a:gs pos="0">
              <a:srgbClr val="E666CC"/>
            </a:gs>
            <a:gs pos="28000">
              <a:srgbClr val="DB64CD"/>
            </a:gs>
            <a:gs pos="77000">
              <a:srgbClr val="BD60D1"/>
            </a:gs>
            <a:gs pos="100000">
              <a:srgbClr val="AE5ED4"/>
            </a:gs>
          </a:gsLst>
          <a:lin ang="0" scaled="1"/>
        </a:gradFill>
        <a:ln w="1162" cap="flat">
          <a:noFill/>
          <a:prstDash val="solid"/>
          <a:miter/>
        </a:ln>
      </a:spPr>
      <a:bodyPr rtlCol="0" anchor="ctr"/>
      <a:lstStyle>
        <a:defPPr algn="l">
          <a:defRPr/>
        </a:defPPr>
      </a:lst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custClrLst>
    <a:custClr name="Light Brown">
      <a:srgbClr val="E1D3C7"/>
    </a:custClr>
    <a:custClr name="Light Yellow">
      <a:srgbClr val="FFE399"/>
    </a:custClr>
    <a:custClr name="Light Orange">
      <a:srgbClr val="FFA38B"/>
    </a:custClr>
    <a:custClr name="Light Red">
      <a:srgbClr val="FFB3BB"/>
    </a:custClr>
    <a:custClr name="Light Magenta">
      <a:srgbClr val="D59ED7"/>
    </a:custClr>
    <a:custClr name="Light Purple">
      <a:srgbClr val="C5B4E3"/>
    </a:custClr>
    <a:custClr name="Light Blue">
      <a:srgbClr val="8DC8E8"/>
    </a:custClr>
    <a:custClr name="Light Teal">
      <a:srgbClr val="B9DCD2"/>
    </a:custClr>
    <a:custClr name="Light Green">
      <a:srgbClr val="D4EC8E"/>
    </a:custClr>
    <a:custClr name="Blue Black">
      <a:srgbClr val="091F2C"/>
    </a:custClr>
    <a:custClr name="Brown">
      <a:srgbClr val="BF9474"/>
    </a:custClr>
    <a:custClr name="Yellow">
      <a:srgbClr val="FFB900"/>
    </a:custClr>
    <a:custClr name="Orange">
      <a:srgbClr val="FF5C39"/>
    </a:custClr>
    <a:custClr name="Red">
      <a:srgbClr val="F4364C"/>
    </a:custClr>
    <a:custClr name="Magenta">
      <a:srgbClr val="C03BC4"/>
    </a:custClr>
    <a:custClr name="Purple">
      <a:srgbClr val="8661C5"/>
    </a:custClr>
    <a:custClr name="Blue">
      <a:srgbClr val="0078D4"/>
    </a:custClr>
    <a:custClr name="Teal">
      <a:srgbClr val="49C5B1"/>
    </a:custClr>
    <a:custClr name="Green">
      <a:srgbClr val="8DE971"/>
    </a:custClr>
    <a:custClr name="Rich Black">
      <a:srgbClr val="000000"/>
    </a:custClr>
    <a:custClr name="Dark Brown">
      <a:srgbClr val="5C4738"/>
    </a:custClr>
    <a:custClr name="Dark Yellow">
      <a:srgbClr val="7F5A1A"/>
    </a:custClr>
    <a:custClr name="Dark Orange">
      <a:srgbClr val="73391D"/>
    </a:custClr>
    <a:custClr name="Dark Red">
      <a:srgbClr val="73262F"/>
    </a:custClr>
    <a:custClr name="Dark Magenta">
      <a:srgbClr val="702573"/>
    </a:custClr>
    <a:custClr name="Dark Purple">
      <a:srgbClr val="463668"/>
    </a:custClr>
    <a:custClr name="Dark Blue">
      <a:srgbClr val="2A446F"/>
    </a:custClr>
    <a:custClr name="Dark Teal">
      <a:srgbClr val="225B62"/>
    </a:custClr>
    <a:custClr name="Dark Green">
      <a:srgbClr val="07641D"/>
    </a:custClr>
    <a:custClr name="Brown Black">
      <a:srgbClr val="291817"/>
    </a:custClr>
    <a:custClr name="Pure White">
      <a:srgbClr val="FFFFFF"/>
    </a:custClr>
    <a:custClr name="Off White">
      <a:srgbClr val="F4F3F5"/>
    </a:custClr>
    <a:custClr name="Warm White">
      <a:srgbClr val="FFF8F3"/>
    </a:custClr>
    <a:custClr name="Warm Light Gray">
      <a:srgbClr val="E8E6DF"/>
    </a:custClr>
    <a:custClr name="Mid Gray">
      <a:srgbClr val="D7D2CB"/>
    </a:custClr>
    <a:custClr name="Warm Gray">
      <a:srgbClr val="8C8279"/>
    </a:custClr>
    <a:custClr name="Light Gray">
      <a:srgbClr val="D9D9D6"/>
    </a:custClr>
    <a:custClr name="Cool Gray">
      <a:srgbClr val="B1B3B3"/>
    </a:custClr>
    <a:custClr name="Dark Gray">
      <a:srgbClr val="454142"/>
    </a:custClr>
    <a:custClr name="Pure White">
      <a:srgbClr val="FFFFFF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</a:custClrLst>
  <a:extLst>
    <a:ext uri="{05A4C25C-085E-4340-85A3-A5531E510DB2}">
      <thm15:themeFamily xmlns:thm15="http://schemas.microsoft.com/office/thememl/2012/main" name="Presentation1" id="{662DC8C9-CFC0-405F-82A1-B248626FCAE6}" vid="{49C91371-712F-49B7-AFEB-59DA86371DF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ABCAF8AA-BEB9-8A40-AE6B-A0181FFFB7C6}" vid="{63C2CA12-BE3C-D049-9B20-F74655612A2E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Light Orange">
      <a:srgbClr val="FF9349"/>
    </a:custClr>
    <a:custClr name="Light Yellow">
      <a:srgbClr val="FEF000"/>
    </a:custClr>
    <a:custClr name="Light Green">
      <a:srgbClr val="9BF00B"/>
    </a:custClr>
    <a:custClr name="Light Teal">
      <a:srgbClr val="30E5D0"/>
    </a:custClr>
    <a:custClr name="Light Blue">
      <a:srgbClr val="50E6FF"/>
    </a:custClr>
    <a:custClr name="Light Purple">
      <a:srgbClr val="D59DFF"/>
    </a:custClr>
    <a:custClr name="White">
      <a:srgbClr val="FFFFFF"/>
    </a:custClr>
    <a:custClr name="Extra Light Gray">
      <a:srgbClr val="F2F2F2"/>
    </a:custClr>
    <a:custClr name="Light Gray">
      <a:srgbClr val="E6E6E6"/>
    </a:custClr>
    <a:custClr name="Gray">
      <a:srgbClr val="D2D2D2"/>
    </a:custClr>
    <a:custClr name="Orange">
      <a:srgbClr val="D83B01"/>
    </a:custClr>
    <a:custClr name="Yellow">
      <a:srgbClr val="FFB900"/>
    </a:custClr>
    <a:custClr name="Green">
      <a:srgbClr val="107C10"/>
    </a:custClr>
    <a:custClr name="Teal">
      <a:srgbClr val="008575"/>
    </a:custClr>
    <a:custClr name="Blue">
      <a:srgbClr val="0078D4"/>
    </a:custClr>
    <a:custClr name="Purple">
      <a:srgbClr val="8661C5"/>
    </a:custClr>
    <a:custClr name="Mid Gray">
      <a:srgbClr val="737373"/>
    </a:custClr>
    <a:custClr name="Dark Gray">
      <a:srgbClr val="505050"/>
    </a:custClr>
    <a:custClr name="Extra Dark Gray">
      <a:srgbClr val="2F2F2F"/>
    </a:custClr>
    <a:custClr name="Rick Black">
      <a:srgbClr val="000000"/>
    </a:custClr>
    <a:custClr name="Dark Orange">
      <a:srgbClr val="6B2929"/>
    </a:custClr>
    <a:custClr name="Dark Yellow">
      <a:srgbClr val="6A4B16"/>
    </a:custClr>
    <a:custClr name="Dark Green">
      <a:srgbClr val="054B16"/>
    </a:custClr>
    <a:custClr name="Dark Teal">
      <a:srgbClr val="274B47"/>
    </a:custClr>
    <a:custClr name="Dark Blue">
      <a:srgbClr val="243A5E"/>
    </a:custClr>
    <a:custClr name="Dark Purple">
      <a:srgbClr val="3B2E58"/>
    </a:custClr>
  </a:custClr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Light Orange">
      <a:srgbClr val="FF9349"/>
    </a:custClr>
    <a:custClr name="Light Yellow">
      <a:srgbClr val="FEF000"/>
    </a:custClr>
    <a:custClr name="Light Green">
      <a:srgbClr val="9BF00B"/>
    </a:custClr>
    <a:custClr name="Light Teal">
      <a:srgbClr val="30E5D0"/>
    </a:custClr>
    <a:custClr name="Light Blue">
      <a:srgbClr val="50E6FF"/>
    </a:custClr>
    <a:custClr name="Light Purple">
      <a:srgbClr val="D59DFF"/>
    </a:custClr>
    <a:custClr name="White">
      <a:srgbClr val="FFFFFF"/>
    </a:custClr>
    <a:custClr name="Extra Light Gray">
      <a:srgbClr val="F2F2F2"/>
    </a:custClr>
    <a:custClr name="Light Gray">
      <a:srgbClr val="E6E6E6"/>
    </a:custClr>
    <a:custClr name="Gray">
      <a:srgbClr val="D2D2D2"/>
    </a:custClr>
    <a:custClr name="Orange">
      <a:srgbClr val="D83B01"/>
    </a:custClr>
    <a:custClr name="Yellow">
      <a:srgbClr val="FFB900"/>
    </a:custClr>
    <a:custClr name="Green">
      <a:srgbClr val="107C10"/>
    </a:custClr>
    <a:custClr name="Teal">
      <a:srgbClr val="008575"/>
    </a:custClr>
    <a:custClr name="Blue">
      <a:srgbClr val="0078D4"/>
    </a:custClr>
    <a:custClr name="Purple">
      <a:srgbClr val="8661C5"/>
    </a:custClr>
    <a:custClr name="Mid Gray">
      <a:srgbClr val="737373"/>
    </a:custClr>
    <a:custClr name="Dark Gray">
      <a:srgbClr val="505050"/>
    </a:custClr>
    <a:custClr name="Extra Dark Gray">
      <a:srgbClr val="2F2F2F"/>
    </a:custClr>
    <a:custClr name="Rick Black">
      <a:srgbClr val="000000"/>
    </a:custClr>
    <a:custClr name="Dark Orange">
      <a:srgbClr val="6B2929"/>
    </a:custClr>
    <a:custClr name="Dark Yellow">
      <a:srgbClr val="6A4B16"/>
    </a:custClr>
    <a:custClr name="Dark Green">
      <a:srgbClr val="054B16"/>
    </a:custClr>
    <a:custClr name="Dark Teal">
      <a:srgbClr val="274B47"/>
    </a:custClr>
    <a:custClr name="Dark Blue">
      <a:srgbClr val="243A5E"/>
    </a:custClr>
    <a:custClr name="Dark Purple">
      <a:srgbClr val="3B2E58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38D393254D930438EAEFA57144E97A1" ma:contentTypeVersion="24" ma:contentTypeDescription="Create a new document." ma:contentTypeScope="" ma:versionID="42d65f33bf2ab003497c6cc5b4152f9a">
  <xsd:schema xmlns:xsd="http://www.w3.org/2001/XMLSchema" xmlns:xs="http://www.w3.org/2001/XMLSchema" xmlns:p="http://schemas.microsoft.com/office/2006/metadata/properties" xmlns:ns1="http://schemas.microsoft.com/sharepoint/v3" xmlns:ns2="ed971524-76e7-40a8-a01a-f99956bd178c" xmlns:ns3="b0e4521d-181b-4aee-b4a8-952b2bc14729" xmlns:ns4="230e9df3-be65-4c73-a93b-d1236ebd677e" targetNamespace="http://schemas.microsoft.com/office/2006/metadata/properties" ma:root="true" ma:fieldsID="a6d2c99abd0e0206120103feb4454f95" ns1:_="" ns2:_="" ns3:_="" ns4:_="">
    <xsd:import namespace="http://schemas.microsoft.com/sharepoint/v3"/>
    <xsd:import namespace="ed971524-76e7-40a8-a01a-f99956bd178c"/>
    <xsd:import namespace="b0e4521d-181b-4aee-b4a8-952b2bc14729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3:LastSharedByUser" minOccurs="0"/>
                <xsd:element ref="ns3:LastSharedByTime" minOccurs="0"/>
                <xsd:element ref="ns2:MediaServiceDateTaken" minOccurs="0"/>
                <xsd:element ref="ns2:MediaServiceAutoTags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1:_ip_UnifiedCompliancePolicyProperties" minOccurs="0"/>
                <xsd:element ref="ns1:_ip_UnifiedCompliancePolicyUIAction" minOccurs="0"/>
                <xsd:element ref="ns2:_Flow_SignoffStatus" minOccurs="0"/>
                <xsd:element ref="ns2:MediaLengthInSeconds" minOccurs="0"/>
                <xsd:element ref="ns2:lcf76f155ced4ddcb4097134ff3c332f" minOccurs="0"/>
                <xsd:element ref="ns4:TaxCatchAll" minOccurs="0"/>
                <xsd:element ref="ns2:MediaServiceSearchProperties" minOccurs="0"/>
                <xsd:element ref="ns2:MediaServiceDocTag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2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3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971524-76e7-40a8-a01a-f99956bd178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MediaServiceAutoTags" ma:internalName="MediaServiceAutoTags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_Flow_SignoffStatus" ma:index="24" nillable="true" ma:displayName="Sign-off status" ma:internalName="Sign_x002d_off_x0020_status">
      <xsd:simpleType>
        <xsd:restriction base="dms:Text"/>
      </xsd:simpleType>
    </xsd:element>
    <xsd:element name="MediaLengthInSeconds" ma:index="25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7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ocTags" ma:index="30" nillable="true" ma:displayName="MediaServiceDocTags" ma:hidden="true" ma:internalName="MediaServiceDocTags" ma:readOnly="true">
      <xsd:simpleType>
        <xsd:restriction base="dms:Note"/>
      </xsd:simpleType>
    </xsd:element>
    <xsd:element name="MediaServiceObjectDetectorVersions" ma:index="3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e4521d-181b-4aee-b4a8-952b2bc14729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2" nillable="true" ma:displayName="Last Shared By User" ma:description="" ma:hidden="true" ma:internalName="LastSharedByUser" ma:readOnly="true">
      <xsd:simpleType>
        <xsd:restriction base="dms:Note"/>
      </xsd:simpleType>
    </xsd:element>
    <xsd:element name="LastSharedByTime" ma:index="13" nillable="true" ma:displayName="Last Shared By Time" ma:description="" ma:hidden="true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8" nillable="true" ma:displayName="Taxonomy Catch All Column" ma:hidden="true" ma:list="{4878c228-8058-4046-9772-52152af8f71f}" ma:internalName="TaxCatchAll" ma:showField="CatchAllData" ma:web="b0e4521d-181b-4aee-b4a8-952b2bc1472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2D3CF7A-86B1-450B-9A61-2957D0C33D1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ed971524-76e7-40a8-a01a-f99956bd178c"/>
    <ds:schemaRef ds:uri="b0e4521d-181b-4aee-b4a8-952b2bc14729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BE60202-E390-4A69-A654-F1C80898ACD5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1a19d03a-48bc-4359-8038-5b5f6d5847c3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Microsoft-Azure-PowerPoint-Template</Template>
  <TotalTime>0</TotalTime>
  <Words>636</Words>
  <Application>Microsoft Office PowerPoint</Application>
  <PresentationFormat>Widescreen</PresentationFormat>
  <Paragraphs>98</Paragraphs>
  <Slides>1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31" baseType="lpstr">
      <vt:lpstr>.SF NS</vt:lpstr>
      <vt:lpstr>Aptos</vt:lpstr>
      <vt:lpstr>Aptos Display</vt:lpstr>
      <vt:lpstr>Arial</vt:lpstr>
      <vt:lpstr>Calibri</vt:lpstr>
      <vt:lpstr>Calibri Light</vt:lpstr>
      <vt:lpstr>Helvetica Neue Medium</vt:lpstr>
      <vt:lpstr>Metric</vt:lpstr>
      <vt:lpstr>Open Sans</vt:lpstr>
      <vt:lpstr>Open Sans ExtraBold</vt:lpstr>
      <vt:lpstr>Segoe Sans Text</vt:lpstr>
      <vt:lpstr>Segoe UI</vt:lpstr>
      <vt:lpstr>Wingdings</vt:lpstr>
      <vt:lpstr>Azure 2023 Template</vt:lpstr>
      <vt:lpstr>Office Theme</vt:lpstr>
      <vt:lpstr>1_Office Theme</vt:lpstr>
      <vt:lpstr>think-cell Slide</vt:lpstr>
      <vt:lpstr>Build interactive AI-powered web apps with Blazor &amp; .NET</vt:lpstr>
      <vt:lpstr>PowerPoint Presentation</vt:lpstr>
      <vt:lpstr>Access AI directly from the server with Blazor</vt:lpstr>
      <vt:lpstr>Reusable AI-powered Blazor components</vt:lpstr>
      <vt:lpstr>Demo: Get started with Blazor &amp; AI</vt:lpstr>
      <vt:lpstr>.NET Smart Components</vt:lpstr>
      <vt:lpstr>Demo: .NET Smart Components</vt:lpstr>
      <vt:lpstr>.NET AI ecosystem</vt:lpstr>
      <vt:lpstr>AI Prompt component – Blending AI with UI Available NOW for Telerik .NET MVC &amp; Blazor</vt:lpstr>
      <vt:lpstr>Experimental Smart (AI) Components 🧪</vt:lpstr>
      <vt:lpstr>PowerPoint Presentation</vt:lpstr>
      <vt:lpstr>PowerPoint Presentation</vt:lpstr>
      <vt:lpstr>PowerPoint Presentation</vt:lpstr>
      <vt:lpstr>.NET Conf: Focus on AI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/>
  <cp:keywords/>
  <dc:description/>
  <cp:lastModifiedBy/>
  <cp:revision>1</cp:revision>
  <dcterms:created xsi:type="dcterms:W3CDTF">2024-07-25T02:07:45Z</dcterms:created>
  <dcterms:modified xsi:type="dcterms:W3CDTF">2024-08-06T21:48:31Z</dcterms:modified>
  <cp:category/>
</cp:coreProperties>
</file>